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5"/>
  </p:notesMasterIdLst>
  <p:sldIdLst>
    <p:sldId id="272" r:id="rId5"/>
    <p:sldId id="256" r:id="rId6"/>
    <p:sldId id="258" r:id="rId7"/>
    <p:sldId id="259" r:id="rId8"/>
    <p:sldId id="267" r:id="rId9"/>
    <p:sldId id="263" r:id="rId10"/>
    <p:sldId id="265" r:id="rId11"/>
    <p:sldId id="268" r:id="rId12"/>
    <p:sldId id="260" r:id="rId13"/>
    <p:sldId id="271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32DC77-3316-5A44-99F4-3731869D0700}" v="10933" dt="2023-01-20T14:19:59.322"/>
    <p1510:client id="{42F5ED7C-376A-42AF-A1F1-03769D62B665}" v="4" dt="2023-01-20T03:56:26.738"/>
    <p1510:client id="{65C04F6E-BB7B-4035-B3A4-46BDD55C3AE1}" v="1" dt="2023-01-20T01:18:03.033"/>
    <p1510:client id="{96EA9BD4-3EFF-4E6D-A49C-4906384E4AC3}" v="14" dt="2023-01-20T03:12:48.809"/>
    <p1510:client id="{C58FFC49-D1AF-4F92-BADF-CF9EAD4B3BCF}" v="5426" vWet="5428" dt="2023-01-20T04:36:11.249"/>
    <p1510:client id="{CACA566F-7661-476E-B9B6-077A0DF35976}" v="1" dt="2023-09-10T19:46:07.8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ourie, Suraj" userId="S::sshourie3@gatech.edu::86feb3a9-e74c-4603-989d-f1e4cb681bb2" providerId="AD" clId="Web-{AC684E91-BF6A-4F85-8877-082E4292D017}"/>
    <pc:docChg chg="modSld">
      <pc:chgData name="Shourie, Suraj" userId="S::sshourie3@gatech.edu::86feb3a9-e74c-4603-989d-f1e4cb681bb2" providerId="AD" clId="Web-{AC684E91-BF6A-4F85-8877-082E4292D017}" dt="2023-01-18T23:10:12.307" v="5"/>
      <pc:docMkLst>
        <pc:docMk/>
      </pc:docMkLst>
      <pc:sldChg chg="addSp modSp">
        <pc:chgData name="Shourie, Suraj" userId="S::sshourie3@gatech.edu::86feb3a9-e74c-4603-989d-f1e4cb681bb2" providerId="AD" clId="Web-{AC684E91-BF6A-4F85-8877-082E4292D017}" dt="2023-01-18T23:10:12.307" v="5"/>
        <pc:sldMkLst>
          <pc:docMk/>
          <pc:sldMk cId="2179472015" sldId="256"/>
        </pc:sldMkLst>
        <pc:picChg chg="add mod modCrop">
          <ac:chgData name="Shourie, Suraj" userId="S::sshourie3@gatech.edu::86feb3a9-e74c-4603-989d-f1e4cb681bb2" providerId="AD" clId="Web-{AC684E91-BF6A-4F85-8877-082E4292D017}" dt="2023-01-18T23:10:12.307" v="5"/>
          <ac:picMkLst>
            <pc:docMk/>
            <pc:sldMk cId="2179472015" sldId="256"/>
            <ac:picMk id="4" creationId="{2AC385E7-B449-661D-8E84-8202BC07FB48}"/>
          </ac:picMkLst>
        </pc:picChg>
      </pc:sldChg>
    </pc:docChg>
  </pc:docChgLst>
  <pc:docChgLst>
    <pc:chgData name="Paul Jordan" userId="ed43b065-ed91-4d94-a70c-3ec7c0759f23" providerId="ADAL" clId="{2C32DC77-3316-5A44-99F4-3731869D0700}"/>
    <pc:docChg chg="undo custSel addSld delSld modSld sldOrd delMainMaster modMainMaster replTag modShowInfo">
      <pc:chgData name="Paul Jordan" userId="ed43b065-ed91-4d94-a70c-3ec7c0759f23" providerId="ADAL" clId="{2C32DC77-3316-5A44-99F4-3731869D0700}" dt="2023-01-20T14:19:59.325" v="15718" actId="20577"/>
      <pc:docMkLst>
        <pc:docMk/>
      </pc:docMkLst>
      <pc:sldChg chg="addSp delSp modSp new add mod">
        <pc:chgData name="Paul Jordan" userId="ed43b065-ed91-4d94-a70c-3ec7c0759f23" providerId="ADAL" clId="{2C32DC77-3316-5A44-99F4-3731869D0700}" dt="2023-01-20T00:40:09.794" v="10089"/>
        <pc:sldMkLst>
          <pc:docMk/>
          <pc:sldMk cId="2179472015" sldId="256"/>
        </pc:sldMkLst>
        <pc:spChg chg="mod">
          <ac:chgData name="Paul Jordan" userId="ed43b065-ed91-4d94-a70c-3ec7c0759f23" providerId="ADAL" clId="{2C32DC77-3316-5A44-99F4-3731869D0700}" dt="2023-01-20T00:39:54.785" v="9831"/>
          <ac:spMkLst>
            <pc:docMk/>
            <pc:sldMk cId="2179472015" sldId="256"/>
            <ac:spMk id="2" creationId="{D5EE92DF-7A39-588A-214F-EC1D1E91DDD6}"/>
          </ac:spMkLst>
        </pc:spChg>
        <pc:spChg chg="mod">
          <ac:chgData name="Paul Jordan" userId="ed43b065-ed91-4d94-a70c-3ec7c0759f23" providerId="ADAL" clId="{2C32DC77-3316-5A44-99F4-3731869D0700}" dt="2023-01-20T00:40:09.737" v="10031" actId="948"/>
          <ac:spMkLst>
            <pc:docMk/>
            <pc:sldMk cId="2179472015" sldId="256"/>
            <ac:spMk id="3" creationId="{0668A3DB-B413-1683-CDF0-724143C06E5B}"/>
          </ac:spMkLst>
        </pc:spChg>
        <pc:spChg chg="add del mod modVis">
          <ac:chgData name="Paul Jordan" userId="ed43b065-ed91-4d94-a70c-3ec7c0759f23" providerId="ADAL" clId="{2C32DC77-3316-5A44-99F4-3731869D0700}" dt="2023-01-18T22:05:55.783" v="144"/>
          <ac:spMkLst>
            <pc:docMk/>
            <pc:sldMk cId="2179472015" sldId="256"/>
            <ac:spMk id="4" creationId="{055AC8D4-EBF7-F9FF-D3ED-7B8E9BED16C5}"/>
          </ac:spMkLst>
        </pc:spChg>
        <pc:spChg chg="add del mod modVis">
          <ac:chgData name="Paul Jordan" userId="ed43b065-ed91-4d94-a70c-3ec7c0759f23" providerId="ADAL" clId="{2C32DC77-3316-5A44-99F4-3731869D0700}" dt="2023-01-18T22:08:06.120" v="318"/>
          <ac:spMkLst>
            <pc:docMk/>
            <pc:sldMk cId="2179472015" sldId="256"/>
            <ac:spMk id="6" creationId="{E7371BD2-1434-FC07-8A7D-477C6728D2D3}"/>
          </ac:spMkLst>
        </pc:spChg>
        <pc:spChg chg="add del mod modVis">
          <ac:chgData name="Paul Jordan" userId="ed43b065-ed91-4d94-a70c-3ec7c0759f23" providerId="ADAL" clId="{2C32DC77-3316-5A44-99F4-3731869D0700}" dt="2023-01-19T01:41:12.615" v="6970"/>
          <ac:spMkLst>
            <pc:docMk/>
            <pc:sldMk cId="2179472015" sldId="256"/>
            <ac:spMk id="7" creationId="{05C50BF4-2A29-CE59-D084-A854D88F4157}"/>
          </ac:spMkLst>
        </pc:spChg>
        <pc:spChg chg="add del mod modVis">
          <ac:chgData name="Paul Jordan" userId="ed43b065-ed91-4d94-a70c-3ec7c0759f23" providerId="ADAL" clId="{2C32DC77-3316-5A44-99F4-3731869D0700}" dt="2023-01-18T22:08:09.527" v="370"/>
          <ac:spMkLst>
            <pc:docMk/>
            <pc:sldMk cId="2179472015" sldId="256"/>
            <ac:spMk id="7" creationId="{3454482C-7E59-AA70-499C-A2BC97D3AAC6}"/>
          </ac:spMkLst>
        </pc:spChg>
        <pc:spChg chg="add del mod modVis">
          <ac:chgData name="Paul Jordan" userId="ed43b065-ed91-4d94-a70c-3ec7c0759f23" providerId="ADAL" clId="{2C32DC77-3316-5A44-99F4-3731869D0700}" dt="2023-01-20T00:39:54.790" v="9844"/>
          <ac:spMkLst>
            <pc:docMk/>
            <pc:sldMk cId="2179472015" sldId="256"/>
            <ac:spMk id="7" creationId="{5F611365-A2DD-F5E9-E80B-F2A4D7902E5B}"/>
          </ac:spMkLst>
        </pc:spChg>
        <pc:spChg chg="add del mod modVis">
          <ac:chgData name="Paul Jordan" userId="ed43b065-ed91-4d94-a70c-3ec7c0759f23" providerId="ADAL" clId="{2C32DC77-3316-5A44-99F4-3731869D0700}" dt="2023-01-19T04:52:43.716" v="8871"/>
          <ac:spMkLst>
            <pc:docMk/>
            <pc:sldMk cId="2179472015" sldId="256"/>
            <ac:spMk id="7" creationId="{C6C885CB-0379-4805-EBBD-DAD73B6A15FC}"/>
          </ac:spMkLst>
        </pc:spChg>
        <pc:spChg chg="add del mod modVis">
          <ac:chgData name="Paul Jordan" userId="ed43b065-ed91-4d94-a70c-3ec7c0759f23" providerId="ADAL" clId="{2C32DC77-3316-5A44-99F4-3731869D0700}" dt="2023-01-20T00:39:58.842" v="9904"/>
          <ac:spMkLst>
            <pc:docMk/>
            <pc:sldMk cId="2179472015" sldId="256"/>
            <ac:spMk id="8" creationId="{2DAE297E-0D55-76E1-8012-FA908D2CC842}"/>
          </ac:spMkLst>
        </pc:spChg>
        <pc:spChg chg="add del mod modVis">
          <ac:chgData name="Paul Jordan" userId="ed43b065-ed91-4d94-a70c-3ec7c0759f23" providerId="ADAL" clId="{2C32DC77-3316-5A44-99F4-3731869D0700}" dt="2023-01-18T22:08:11.350" v="418"/>
          <ac:spMkLst>
            <pc:docMk/>
            <pc:sldMk cId="2179472015" sldId="256"/>
            <ac:spMk id="8" creationId="{FF6D62E0-524C-18CE-7623-28094F61CA9B}"/>
          </ac:spMkLst>
        </pc:spChg>
        <pc:spChg chg="add del mod modVis">
          <ac:chgData name="Paul Jordan" userId="ed43b065-ed91-4d94-a70c-3ec7c0759f23" providerId="ADAL" clId="{2C32DC77-3316-5A44-99F4-3731869D0700}" dt="2023-01-18T22:08:32.058" v="464"/>
          <ac:spMkLst>
            <pc:docMk/>
            <pc:sldMk cId="2179472015" sldId="256"/>
            <ac:spMk id="9" creationId="{0B48D19E-6CD3-F8AB-9147-EF57793BE676}"/>
          </ac:spMkLst>
        </pc:spChg>
        <pc:spChg chg="add del mod modVis">
          <ac:chgData name="Paul Jordan" userId="ed43b065-ed91-4d94-a70c-3ec7c0759f23" providerId="ADAL" clId="{2C32DC77-3316-5A44-99F4-3731869D0700}" dt="2023-01-20T00:40:06.072" v="9967"/>
          <ac:spMkLst>
            <pc:docMk/>
            <pc:sldMk cId="2179472015" sldId="256"/>
            <ac:spMk id="9" creationId="{A16B4BF3-DD90-8B25-6AE2-E589E7A95419}"/>
          </ac:spMkLst>
        </pc:spChg>
        <pc:spChg chg="add del mod modVis">
          <ac:chgData name="Paul Jordan" userId="ed43b065-ed91-4d94-a70c-3ec7c0759f23" providerId="ADAL" clId="{2C32DC77-3316-5A44-99F4-3731869D0700}" dt="2023-01-20T00:40:07.888" v="10027"/>
          <ac:spMkLst>
            <pc:docMk/>
            <pc:sldMk cId="2179472015" sldId="256"/>
            <ac:spMk id="10" creationId="{2CB8464A-B59C-1B50-CD94-E49EE0D4A4CC}"/>
          </ac:spMkLst>
        </pc:spChg>
        <pc:spChg chg="add del mod modVis">
          <ac:chgData name="Paul Jordan" userId="ed43b065-ed91-4d94-a70c-3ec7c0759f23" providerId="ADAL" clId="{2C32DC77-3316-5A44-99F4-3731869D0700}" dt="2023-01-18T22:08:34.148" v="509"/>
          <ac:spMkLst>
            <pc:docMk/>
            <pc:sldMk cId="2179472015" sldId="256"/>
            <ac:spMk id="10" creationId="{C0C3DE6E-FDFB-9223-0579-5721D330A5E0}"/>
          </ac:spMkLst>
        </pc:spChg>
        <pc:spChg chg="add del mod modVis">
          <ac:chgData name="Paul Jordan" userId="ed43b065-ed91-4d94-a70c-3ec7c0759f23" providerId="ADAL" clId="{2C32DC77-3316-5A44-99F4-3731869D0700}" dt="2023-01-20T00:40:09.792" v="10087"/>
          <ac:spMkLst>
            <pc:docMk/>
            <pc:sldMk cId="2179472015" sldId="256"/>
            <ac:spMk id="11" creationId="{A4BC137A-F6FA-5F04-79A7-2D0B263A110A}"/>
          </ac:spMkLst>
        </pc:spChg>
        <pc:spChg chg="add del mod modVis">
          <ac:chgData name="Paul Jordan" userId="ed43b065-ed91-4d94-a70c-3ec7c0759f23" providerId="ADAL" clId="{2C32DC77-3316-5A44-99F4-3731869D0700}" dt="2023-01-18T22:08:35.085" v="554"/>
          <ac:spMkLst>
            <pc:docMk/>
            <pc:sldMk cId="2179472015" sldId="256"/>
            <ac:spMk id="11" creationId="{F5747487-7FEB-A656-9D84-D293B17B282A}"/>
          </ac:spMkLst>
        </pc:spChg>
        <pc:spChg chg="add del mod modVis">
          <ac:chgData name="Paul Jordan" userId="ed43b065-ed91-4d94-a70c-3ec7c0759f23" providerId="ADAL" clId="{2C32DC77-3316-5A44-99F4-3731869D0700}" dt="2023-01-18T22:08:36.095" v="600"/>
          <ac:spMkLst>
            <pc:docMk/>
            <pc:sldMk cId="2179472015" sldId="256"/>
            <ac:spMk id="12" creationId="{CE210294-CF6B-033F-7EE7-2D40F8858FAE}"/>
          </ac:spMkLst>
        </pc:spChg>
        <pc:spChg chg="add del mod modVis">
          <ac:chgData name="Paul Jordan" userId="ed43b065-ed91-4d94-a70c-3ec7c0759f23" providerId="ADAL" clId="{2C32DC77-3316-5A44-99F4-3731869D0700}" dt="2023-01-18T22:08:40.012" v="660"/>
          <ac:spMkLst>
            <pc:docMk/>
            <pc:sldMk cId="2179472015" sldId="256"/>
            <ac:spMk id="13" creationId="{64B7CD24-A7B4-C73F-E7D3-924433029886}"/>
          </ac:spMkLst>
        </pc:spChg>
        <pc:spChg chg="add del mod modVis">
          <ac:chgData name="Paul Jordan" userId="ed43b065-ed91-4d94-a70c-3ec7c0759f23" providerId="ADAL" clId="{2C32DC77-3316-5A44-99F4-3731869D0700}" dt="2023-01-18T22:08:44.329" v="721"/>
          <ac:spMkLst>
            <pc:docMk/>
            <pc:sldMk cId="2179472015" sldId="256"/>
            <ac:spMk id="14" creationId="{E244CE3C-2E08-1198-4136-CFFA5BF2C7EE}"/>
          </ac:spMkLst>
        </pc:spChg>
        <pc:spChg chg="add del mod modVis">
          <ac:chgData name="Paul Jordan" userId="ed43b065-ed91-4d94-a70c-3ec7c0759f23" providerId="ADAL" clId="{2C32DC77-3316-5A44-99F4-3731869D0700}" dt="2023-01-18T22:08:48.203" v="796"/>
          <ac:spMkLst>
            <pc:docMk/>
            <pc:sldMk cId="2179472015" sldId="256"/>
            <ac:spMk id="15" creationId="{E20633D3-C59F-FF2A-9DF7-C33C6D237A71}"/>
          </ac:spMkLst>
        </pc:spChg>
        <pc:spChg chg="add del mod modVis">
          <ac:chgData name="Paul Jordan" userId="ed43b065-ed91-4d94-a70c-3ec7c0759f23" providerId="ADAL" clId="{2C32DC77-3316-5A44-99F4-3731869D0700}" dt="2023-01-18T22:08:52.104" v="880"/>
          <ac:spMkLst>
            <pc:docMk/>
            <pc:sldMk cId="2179472015" sldId="256"/>
            <ac:spMk id="16" creationId="{43755340-C44A-BDEC-FB15-99C1ACE5DB7F}"/>
          </ac:spMkLst>
        </pc:spChg>
        <pc:spChg chg="add del mod modVis">
          <ac:chgData name="Paul Jordan" userId="ed43b065-ed91-4d94-a70c-3ec7c0759f23" providerId="ADAL" clId="{2C32DC77-3316-5A44-99F4-3731869D0700}" dt="2023-01-18T22:08:52.741" v="942"/>
          <ac:spMkLst>
            <pc:docMk/>
            <pc:sldMk cId="2179472015" sldId="256"/>
            <ac:spMk id="17" creationId="{74522AAE-882B-EE49-B53A-3C350531DDBF}"/>
          </ac:spMkLst>
        </pc:spChg>
        <pc:spChg chg="add del mod modVis">
          <ac:chgData name="Paul Jordan" userId="ed43b065-ed91-4d94-a70c-3ec7c0759f23" providerId="ADAL" clId="{2C32DC77-3316-5A44-99F4-3731869D0700}" dt="2023-01-18T22:08:57.150" v="1002"/>
          <ac:spMkLst>
            <pc:docMk/>
            <pc:sldMk cId="2179472015" sldId="256"/>
            <ac:spMk id="18" creationId="{17304C85-1F4C-64F1-F8B2-C4082CA2A9E2}"/>
          </ac:spMkLst>
        </pc:spChg>
        <pc:spChg chg="add del mod modVis">
          <ac:chgData name="Paul Jordan" userId="ed43b065-ed91-4d94-a70c-3ec7c0759f23" providerId="ADAL" clId="{2C32DC77-3316-5A44-99F4-3731869D0700}" dt="2023-01-18T22:08:57.839" v="1062"/>
          <ac:spMkLst>
            <pc:docMk/>
            <pc:sldMk cId="2179472015" sldId="256"/>
            <ac:spMk id="19" creationId="{ADB6E7EA-0D8A-48A5-C6FB-F4CD5E6D62A1}"/>
          </ac:spMkLst>
        </pc:spChg>
        <pc:spChg chg="add del mod modVis">
          <ac:chgData name="Paul Jordan" userId="ed43b065-ed91-4d94-a70c-3ec7c0759f23" providerId="ADAL" clId="{2C32DC77-3316-5A44-99F4-3731869D0700}" dt="2023-01-18T22:09:10.097" v="1122"/>
          <ac:spMkLst>
            <pc:docMk/>
            <pc:sldMk cId="2179472015" sldId="256"/>
            <ac:spMk id="20" creationId="{90D389E0-AEC1-6957-564C-C14A4FA79D61}"/>
          </ac:spMkLst>
        </pc:spChg>
        <pc:spChg chg="add del mod modVis">
          <ac:chgData name="Paul Jordan" userId="ed43b065-ed91-4d94-a70c-3ec7c0759f23" providerId="ADAL" clId="{2C32DC77-3316-5A44-99F4-3731869D0700}" dt="2023-01-18T22:09:16.718" v="1194"/>
          <ac:spMkLst>
            <pc:docMk/>
            <pc:sldMk cId="2179472015" sldId="256"/>
            <ac:spMk id="21" creationId="{22FE3776-9166-6C65-29D5-34556224B5CD}"/>
          </ac:spMkLst>
        </pc:spChg>
        <pc:spChg chg="add del mod modVis">
          <ac:chgData name="Paul Jordan" userId="ed43b065-ed91-4d94-a70c-3ec7c0759f23" providerId="ADAL" clId="{2C32DC77-3316-5A44-99F4-3731869D0700}" dt="2023-01-18T22:09:17.931" v="1254"/>
          <ac:spMkLst>
            <pc:docMk/>
            <pc:sldMk cId="2179472015" sldId="256"/>
            <ac:spMk id="22" creationId="{073A7B91-A1C8-04A3-DB5F-B79B1DAC3F39}"/>
          </ac:spMkLst>
        </pc:spChg>
        <pc:spChg chg="add del mod modVis">
          <ac:chgData name="Paul Jordan" userId="ed43b065-ed91-4d94-a70c-3ec7c0759f23" providerId="ADAL" clId="{2C32DC77-3316-5A44-99F4-3731869D0700}" dt="2023-01-18T22:09:19.925" v="1321"/>
          <ac:spMkLst>
            <pc:docMk/>
            <pc:sldMk cId="2179472015" sldId="256"/>
            <ac:spMk id="23" creationId="{85DBB09C-F8BB-4BC4-28A1-8BCAA4478541}"/>
          </ac:spMkLst>
        </pc:spChg>
        <pc:spChg chg="add del mod modVis">
          <ac:chgData name="Paul Jordan" userId="ed43b065-ed91-4d94-a70c-3ec7c0759f23" providerId="ADAL" clId="{2C32DC77-3316-5A44-99F4-3731869D0700}" dt="2023-01-18T22:09:23.402" v="1388"/>
          <ac:spMkLst>
            <pc:docMk/>
            <pc:sldMk cId="2179472015" sldId="256"/>
            <ac:spMk id="24" creationId="{2E405917-B345-FFC1-81C2-C43123A20C36}"/>
          </ac:spMkLst>
        </pc:spChg>
        <pc:spChg chg="add del mod modVis">
          <ac:chgData name="Paul Jordan" userId="ed43b065-ed91-4d94-a70c-3ec7c0759f23" providerId="ADAL" clId="{2C32DC77-3316-5A44-99F4-3731869D0700}" dt="2023-01-18T22:09:27.509" v="1448"/>
          <ac:spMkLst>
            <pc:docMk/>
            <pc:sldMk cId="2179472015" sldId="256"/>
            <ac:spMk id="25" creationId="{554B291B-C736-7782-A63A-9A3CA5636EDD}"/>
          </ac:spMkLst>
        </pc:spChg>
        <pc:spChg chg="add del mod modVis">
          <ac:chgData name="Paul Jordan" userId="ed43b065-ed91-4d94-a70c-3ec7c0759f23" providerId="ADAL" clId="{2C32DC77-3316-5A44-99F4-3731869D0700}" dt="2023-01-18T22:09:28.460" v="1509"/>
          <ac:spMkLst>
            <pc:docMk/>
            <pc:sldMk cId="2179472015" sldId="256"/>
            <ac:spMk id="26" creationId="{1141FAC4-6575-E47F-0DAF-27CD5BDD8805}"/>
          </ac:spMkLst>
        </pc:spChg>
        <pc:spChg chg="add del mod modVis">
          <ac:chgData name="Paul Jordan" userId="ed43b065-ed91-4d94-a70c-3ec7c0759f23" providerId="ADAL" clId="{2C32DC77-3316-5A44-99F4-3731869D0700}" dt="2023-01-18T22:09:33.189" v="1587"/>
          <ac:spMkLst>
            <pc:docMk/>
            <pc:sldMk cId="2179472015" sldId="256"/>
            <ac:spMk id="27" creationId="{7F7D91D7-C2A0-201C-ECF9-3407A1E5AD03}"/>
          </ac:spMkLst>
        </pc:spChg>
        <pc:spChg chg="add del mod modVis">
          <ac:chgData name="Paul Jordan" userId="ed43b065-ed91-4d94-a70c-3ec7c0759f23" providerId="ADAL" clId="{2C32DC77-3316-5A44-99F4-3731869D0700}" dt="2023-01-18T22:09:36.873" v="1665"/>
          <ac:spMkLst>
            <pc:docMk/>
            <pc:sldMk cId="2179472015" sldId="256"/>
            <ac:spMk id="28" creationId="{99258B0F-DE14-5B9A-FFBF-6BB11AA61C03}"/>
          </ac:spMkLst>
        </pc:spChg>
        <pc:spChg chg="add del mod modVis">
          <ac:chgData name="Paul Jordan" userId="ed43b065-ed91-4d94-a70c-3ec7c0759f23" providerId="ADAL" clId="{2C32DC77-3316-5A44-99F4-3731869D0700}" dt="2023-01-18T22:09:39.024" v="1727"/>
          <ac:spMkLst>
            <pc:docMk/>
            <pc:sldMk cId="2179472015" sldId="256"/>
            <ac:spMk id="29" creationId="{E5F4F128-DB88-F615-E765-E3FED5CE669D}"/>
          </ac:spMkLst>
        </pc:spChg>
        <pc:spChg chg="add del mod modVis">
          <ac:chgData name="Paul Jordan" userId="ed43b065-ed91-4d94-a70c-3ec7c0759f23" providerId="ADAL" clId="{2C32DC77-3316-5A44-99F4-3731869D0700}" dt="2023-01-18T22:09:39.820" v="1787"/>
          <ac:spMkLst>
            <pc:docMk/>
            <pc:sldMk cId="2179472015" sldId="256"/>
            <ac:spMk id="30" creationId="{2FC4597E-9042-21A5-37A5-AFCC458C5BB6}"/>
          </ac:spMkLst>
        </pc:spChg>
        <pc:spChg chg="add del mod modVis">
          <ac:chgData name="Paul Jordan" userId="ed43b065-ed91-4d94-a70c-3ec7c0759f23" providerId="ADAL" clId="{2C32DC77-3316-5A44-99F4-3731869D0700}" dt="2023-01-18T22:09:41.274" v="1848"/>
          <ac:spMkLst>
            <pc:docMk/>
            <pc:sldMk cId="2179472015" sldId="256"/>
            <ac:spMk id="31" creationId="{2EB79332-EE73-EA18-1BBF-D1B454F14547}"/>
          </ac:spMkLst>
        </pc:spChg>
        <pc:spChg chg="add del mod modVis">
          <ac:chgData name="Paul Jordan" userId="ed43b065-ed91-4d94-a70c-3ec7c0759f23" providerId="ADAL" clId="{2C32DC77-3316-5A44-99F4-3731869D0700}" dt="2023-01-18T22:09:48.205" v="1908"/>
          <ac:spMkLst>
            <pc:docMk/>
            <pc:sldMk cId="2179472015" sldId="256"/>
            <ac:spMk id="32" creationId="{52C2FF77-16E6-F63E-0494-CDBEDFE5B45C}"/>
          </ac:spMkLst>
        </pc:spChg>
        <pc:spChg chg="add del mod modVis">
          <ac:chgData name="Paul Jordan" userId="ed43b065-ed91-4d94-a70c-3ec7c0759f23" providerId="ADAL" clId="{2C32DC77-3316-5A44-99F4-3731869D0700}" dt="2023-01-18T22:09:51.117" v="1967"/>
          <ac:spMkLst>
            <pc:docMk/>
            <pc:sldMk cId="2179472015" sldId="256"/>
            <ac:spMk id="33" creationId="{FA3A84BA-A62F-C775-3939-26BFB66278A0}"/>
          </ac:spMkLst>
        </pc:spChg>
        <pc:spChg chg="add del mod modVis">
          <ac:chgData name="Paul Jordan" userId="ed43b065-ed91-4d94-a70c-3ec7c0759f23" providerId="ADAL" clId="{2C32DC77-3316-5A44-99F4-3731869D0700}" dt="2023-01-18T22:09:55.338" v="2027"/>
          <ac:spMkLst>
            <pc:docMk/>
            <pc:sldMk cId="2179472015" sldId="256"/>
            <ac:spMk id="34" creationId="{37FF6B59-7B1A-7601-4878-784B8C84CCB1}"/>
          </ac:spMkLst>
        </pc:spChg>
        <pc:spChg chg="add del mod modVis">
          <ac:chgData name="Paul Jordan" userId="ed43b065-ed91-4d94-a70c-3ec7c0759f23" providerId="ADAL" clId="{2C32DC77-3316-5A44-99F4-3731869D0700}" dt="2023-01-18T22:10:02.590" v="2087"/>
          <ac:spMkLst>
            <pc:docMk/>
            <pc:sldMk cId="2179472015" sldId="256"/>
            <ac:spMk id="35" creationId="{6684C16A-7E3E-8E5B-E58D-D703F27F4E7C}"/>
          </ac:spMkLst>
        </pc:spChg>
        <pc:spChg chg="add del mod modVis">
          <ac:chgData name="Paul Jordan" userId="ed43b065-ed91-4d94-a70c-3ec7c0759f23" providerId="ADAL" clId="{2C32DC77-3316-5A44-99F4-3731869D0700}" dt="2023-01-18T22:10:06.967" v="2148"/>
          <ac:spMkLst>
            <pc:docMk/>
            <pc:sldMk cId="2179472015" sldId="256"/>
            <ac:spMk id="36" creationId="{68688C9B-0097-D617-2F6B-C03075A7104C}"/>
          </ac:spMkLst>
        </pc:spChg>
        <pc:spChg chg="add del mod modVis">
          <ac:chgData name="Paul Jordan" userId="ed43b065-ed91-4d94-a70c-3ec7c0759f23" providerId="ADAL" clId="{2C32DC77-3316-5A44-99F4-3731869D0700}" dt="2023-01-18T22:57:03.936" v="5194"/>
          <ac:spMkLst>
            <pc:docMk/>
            <pc:sldMk cId="2179472015" sldId="256"/>
            <ac:spMk id="39" creationId="{5B2C9066-E5D4-7DF1-3B09-E074074068F6}"/>
          </ac:spMkLst>
        </pc:spChg>
        <pc:spChg chg="add del mod modVis">
          <ac:chgData name="Paul Jordan" userId="ed43b065-ed91-4d94-a70c-3ec7c0759f23" providerId="ADAL" clId="{2C32DC77-3316-5A44-99F4-3731869D0700}" dt="2023-01-18T22:57:06.128" v="5254"/>
          <ac:spMkLst>
            <pc:docMk/>
            <pc:sldMk cId="2179472015" sldId="256"/>
            <ac:spMk id="40" creationId="{8358E008-76BB-4625-0799-F86BE61CCDCB}"/>
          </ac:spMkLst>
        </pc:spChg>
        <pc:spChg chg="add mod">
          <ac:chgData name="Paul Jordan" userId="ed43b065-ed91-4d94-a70c-3ec7c0759f23" providerId="ADAL" clId="{2C32DC77-3316-5A44-99F4-3731869D0700}" dt="2023-01-20T00:39:54.786" v="9837"/>
          <ac:spMkLst>
            <pc:docMk/>
            <pc:sldMk cId="2179472015" sldId="256"/>
            <ac:spMk id="43" creationId="{2EE24C2B-21AC-DC56-7900-2E975A8F8B16}"/>
          </ac:spMkLst>
        </pc:spChg>
        <pc:spChg chg="add mod">
          <ac:chgData name="Paul Jordan" userId="ed43b065-ed91-4d94-a70c-3ec7c0759f23" providerId="ADAL" clId="{2C32DC77-3316-5A44-99F4-3731869D0700}" dt="2023-01-20T00:39:54.787" v="9838"/>
          <ac:spMkLst>
            <pc:docMk/>
            <pc:sldMk cId="2179472015" sldId="256"/>
            <ac:spMk id="44" creationId="{E08C17FB-6C5E-4E46-7049-9F0D1CCC3BAE}"/>
          </ac:spMkLst>
        </pc:spChg>
        <pc:spChg chg="add mod">
          <ac:chgData name="Paul Jordan" userId="ed43b065-ed91-4d94-a70c-3ec7c0759f23" providerId="ADAL" clId="{2C32DC77-3316-5A44-99F4-3731869D0700}" dt="2023-01-20T00:39:54.787" v="9839"/>
          <ac:spMkLst>
            <pc:docMk/>
            <pc:sldMk cId="2179472015" sldId="256"/>
            <ac:spMk id="45" creationId="{CC3F9BA2-6A77-FAF8-79AA-0D639427B601}"/>
          </ac:spMkLst>
        </pc:spChg>
        <pc:spChg chg="add mod">
          <ac:chgData name="Paul Jordan" userId="ed43b065-ed91-4d94-a70c-3ec7c0759f23" providerId="ADAL" clId="{2C32DC77-3316-5A44-99F4-3731869D0700}" dt="2023-01-20T00:39:54.787" v="9840"/>
          <ac:spMkLst>
            <pc:docMk/>
            <pc:sldMk cId="2179472015" sldId="256"/>
            <ac:spMk id="46" creationId="{5895D03A-DCCE-68D7-C2E2-ECF7BDEF8417}"/>
          </ac:spMkLst>
        </pc:spChg>
        <pc:graphicFrameChg chg="add mod modVis replST">
          <ac:chgData name="Paul Jordan" userId="ed43b065-ed91-4d94-a70c-3ec7c0759f23" providerId="ADAL" clId="{2C32DC77-3316-5A44-99F4-3731869D0700}" dt="2023-01-20T00:40:09.794" v="10089"/>
          <ac:graphicFrameMkLst>
            <pc:docMk/>
            <pc:sldMk cId="2179472015" sldId="256"/>
            <ac:graphicFrameMk id="5" creationId="{59FBF9B4-4C5D-5E55-FEF0-B1FC6F5C93F1}"/>
          </ac:graphicFrameMkLst>
        </pc:graphicFrameChg>
        <pc:graphicFrameChg chg="add mod modGraphic">
          <ac:chgData name="Paul Jordan" userId="ed43b065-ed91-4d94-a70c-3ec7c0759f23" providerId="ADAL" clId="{2C32DC77-3316-5A44-99F4-3731869D0700}" dt="2023-01-20T00:39:54.785" v="9830"/>
          <ac:graphicFrameMkLst>
            <pc:docMk/>
            <pc:sldMk cId="2179472015" sldId="256"/>
            <ac:graphicFrameMk id="6" creationId="{60C8EDD6-2164-DDAD-902B-BF4806607734}"/>
          </ac:graphicFrameMkLst>
        </pc:graphicFrameChg>
        <pc:picChg chg="mod modCrop">
          <ac:chgData name="Paul Jordan" userId="ed43b065-ed91-4d94-a70c-3ec7c0759f23" providerId="ADAL" clId="{2C32DC77-3316-5A44-99F4-3731869D0700}" dt="2023-01-20T00:39:54.786" v="9836"/>
          <ac:picMkLst>
            <pc:docMk/>
            <pc:sldMk cId="2179472015" sldId="256"/>
            <ac:picMk id="4" creationId="{2AC385E7-B449-661D-8E84-8202BC07FB48}"/>
          </ac:picMkLst>
        </pc:picChg>
        <pc:picChg chg="add mod">
          <ac:chgData name="Paul Jordan" userId="ed43b065-ed91-4d94-a70c-3ec7c0759f23" providerId="ADAL" clId="{2C32DC77-3316-5A44-99F4-3731869D0700}" dt="2023-01-20T00:39:54.786" v="9833"/>
          <ac:picMkLst>
            <pc:docMk/>
            <pc:sldMk cId="2179472015" sldId="256"/>
            <ac:picMk id="37" creationId="{67EF921B-3E6E-6D24-4E71-1AB881BA84D1}"/>
          </ac:picMkLst>
        </pc:picChg>
        <pc:picChg chg="add mod">
          <ac:chgData name="Paul Jordan" userId="ed43b065-ed91-4d94-a70c-3ec7c0759f23" providerId="ADAL" clId="{2C32DC77-3316-5A44-99F4-3731869D0700}" dt="2023-01-20T00:39:54.786" v="9834"/>
          <ac:picMkLst>
            <pc:docMk/>
            <pc:sldMk cId="2179472015" sldId="256"/>
            <ac:picMk id="38" creationId="{3463EA7B-637E-5B5B-123E-F6288FDF6193}"/>
          </ac:picMkLst>
        </pc:picChg>
        <pc:picChg chg="add mod">
          <ac:chgData name="Paul Jordan" userId="ed43b065-ed91-4d94-a70c-3ec7c0759f23" providerId="ADAL" clId="{2C32DC77-3316-5A44-99F4-3731869D0700}" dt="2023-01-20T00:39:54.786" v="9835"/>
          <ac:picMkLst>
            <pc:docMk/>
            <pc:sldMk cId="2179472015" sldId="256"/>
            <ac:picMk id="42" creationId="{06FCD972-B978-D778-463F-0E3398189606}"/>
          </ac:picMkLst>
        </pc:picChg>
      </pc:sldChg>
      <pc:sldChg chg="addSp delSp modSp new add del mod">
        <pc:chgData name="Paul Jordan" userId="ed43b065-ed91-4d94-a70c-3ec7c0759f23" providerId="ADAL" clId="{2C32DC77-3316-5A44-99F4-3731869D0700}" dt="2023-01-18T22:06:50.004" v="196" actId="2696"/>
        <pc:sldMkLst>
          <pc:docMk/>
          <pc:sldMk cId="2590948815" sldId="257"/>
        </pc:sldMkLst>
        <pc:spChg chg="mod">
          <ac:chgData name="Paul Jordan" userId="ed43b065-ed91-4d94-a70c-3ec7c0759f23" providerId="ADAL" clId="{2C32DC77-3316-5A44-99F4-3731869D0700}" dt="2023-01-18T22:06:31.263" v="188" actId="20577"/>
          <ac:spMkLst>
            <pc:docMk/>
            <pc:sldMk cId="2590948815" sldId="257"/>
            <ac:spMk id="2" creationId="{C906E3C9-B37C-15AC-0A09-00644D3021BE}"/>
          </ac:spMkLst>
        </pc:spChg>
        <pc:spChg chg="del mod">
          <ac:chgData name="Paul Jordan" userId="ed43b065-ed91-4d94-a70c-3ec7c0759f23" providerId="ADAL" clId="{2C32DC77-3316-5A44-99F4-3731869D0700}" dt="2023-01-18T22:06:27.953" v="165" actId="478"/>
          <ac:spMkLst>
            <pc:docMk/>
            <pc:sldMk cId="2590948815" sldId="257"/>
            <ac:spMk id="4" creationId="{033DB20C-972C-3EAF-45FC-9C95F0699D4E}"/>
          </ac:spMkLst>
        </pc:spChg>
        <pc:graphicFrameChg chg="add mod modVis replST">
          <ac:chgData name="Paul Jordan" userId="ed43b065-ed91-4d94-a70c-3ec7c0759f23" providerId="ADAL" clId="{2C32DC77-3316-5A44-99F4-3731869D0700}" dt="2023-01-18T22:06:31.784" v="192"/>
          <ac:graphicFrameMkLst>
            <pc:docMk/>
            <pc:sldMk cId="2590948815" sldId="257"/>
            <ac:graphicFrameMk id="5" creationId="{54D2055F-956E-B7F2-C778-E81189A06F55}"/>
          </ac:graphicFrameMkLst>
        </pc:graphicFrameChg>
      </pc:sldChg>
      <pc:sldChg chg="new add del">
        <pc:chgData name="Paul Jordan" userId="ed43b065-ed91-4d94-a70c-3ec7c0759f23" providerId="ADAL" clId="{2C32DC77-3316-5A44-99F4-3731869D0700}" dt="2023-01-18T22:07:49.634" v="273" actId="2696"/>
        <pc:sldMkLst>
          <pc:docMk/>
          <pc:sldMk cId="3007561425" sldId="257"/>
        </pc:sldMkLst>
      </pc:sldChg>
      <pc:sldChg chg="new add del">
        <pc:chgData name="Paul Jordan" userId="ed43b065-ed91-4d94-a70c-3ec7c0759f23" providerId="ADAL" clId="{2C32DC77-3316-5A44-99F4-3731869D0700}" dt="2023-01-18T22:11:12.957" v="2163" actId="2696"/>
        <pc:sldMkLst>
          <pc:docMk/>
          <pc:sldMk cId="4038196768" sldId="257"/>
        </pc:sldMkLst>
      </pc:sldChg>
      <pc:sldChg chg="addSp delSp modSp add mod">
        <pc:chgData name="Paul Jordan" userId="ed43b065-ed91-4d94-a70c-3ec7c0759f23" providerId="ADAL" clId="{2C32DC77-3316-5A44-99F4-3731869D0700}" dt="2023-01-20T13:58:02.229" v="15716" actId="20577"/>
        <pc:sldMkLst>
          <pc:docMk/>
          <pc:sldMk cId="995690777" sldId="258"/>
        </pc:sldMkLst>
        <pc:spChg chg="mod">
          <ac:chgData name="Paul Jordan" userId="ed43b065-ed91-4d94-a70c-3ec7c0759f23" providerId="ADAL" clId="{2C32DC77-3316-5A44-99F4-3731869D0700}" dt="2023-01-18T22:43:19.796" v="4226" actId="948"/>
          <ac:spMkLst>
            <pc:docMk/>
            <pc:sldMk cId="995690777" sldId="258"/>
            <ac:spMk id="2" creationId="{0FCA8915-49F5-B0A7-3E79-B63CE49D5147}"/>
          </ac:spMkLst>
        </pc:spChg>
        <pc:spChg chg="mod">
          <ac:chgData name="Paul Jordan" userId="ed43b065-ed91-4d94-a70c-3ec7c0759f23" providerId="ADAL" clId="{2C32DC77-3316-5A44-99F4-3731869D0700}" dt="2023-01-18T22:40:34.056" v="3228"/>
          <ac:spMkLst>
            <pc:docMk/>
            <pc:sldMk cId="995690777" sldId="258"/>
            <ac:spMk id="3" creationId="{7F7F7694-9F2E-418D-9BB3-EE5CEB834DC2}"/>
          </ac:spMkLst>
        </pc:spChg>
        <pc:spChg chg="mod">
          <ac:chgData name="Paul Jordan" userId="ed43b065-ed91-4d94-a70c-3ec7c0759f23" providerId="ADAL" clId="{2C32DC77-3316-5A44-99F4-3731869D0700}" dt="2023-01-18T22:11:09.532" v="2153" actId="20577"/>
          <ac:spMkLst>
            <pc:docMk/>
            <pc:sldMk cId="995690777" sldId="258"/>
            <ac:spMk id="4" creationId="{6A047E8C-A273-5F9A-E1E5-02AF9B75C7FA}"/>
          </ac:spMkLst>
        </pc:spChg>
        <pc:spChg chg="add del mod">
          <ac:chgData name="Paul Jordan" userId="ed43b065-ed91-4d94-a70c-3ec7c0759f23" providerId="ADAL" clId="{2C32DC77-3316-5A44-99F4-3731869D0700}" dt="2023-01-20T04:34:16.712" v="13987" actId="478"/>
          <ac:spMkLst>
            <pc:docMk/>
            <pc:sldMk cId="995690777" sldId="258"/>
            <ac:spMk id="4" creationId="{D6E6C965-D979-817A-4FB2-1B805181CB27}"/>
          </ac:spMkLst>
        </pc:spChg>
        <pc:spChg chg="mod">
          <ac:chgData name="Paul Jordan" userId="ed43b065-ed91-4d94-a70c-3ec7c0759f23" providerId="ADAL" clId="{2C32DC77-3316-5A44-99F4-3731869D0700}" dt="2023-01-20T13:56:33.191" v="15714" actId="20577"/>
          <ac:spMkLst>
            <pc:docMk/>
            <pc:sldMk cId="995690777" sldId="258"/>
            <ac:spMk id="6" creationId="{1BBD2FBB-2CA5-DE80-3025-1245F298BEAF}"/>
          </ac:spMkLst>
        </pc:spChg>
        <pc:spChg chg="add del mod modVis">
          <ac:chgData name="Paul Jordan" userId="ed43b065-ed91-4d94-a70c-3ec7c0759f23" providerId="ADAL" clId="{2C32DC77-3316-5A44-99F4-3731869D0700}" dt="2023-01-18T22:11:38.158" v="2301"/>
          <ac:spMkLst>
            <pc:docMk/>
            <pc:sldMk cId="995690777" sldId="258"/>
            <ac:spMk id="6" creationId="{6E847877-734E-1CDD-05C7-1132F5AAFFC1}"/>
          </ac:spMkLst>
        </pc:spChg>
        <pc:spChg chg="mod">
          <ac:chgData name="Paul Jordan" userId="ed43b065-ed91-4d94-a70c-3ec7c0759f23" providerId="ADAL" clId="{2C32DC77-3316-5A44-99F4-3731869D0700}" dt="2023-01-20T13:58:02.229" v="15716" actId="20577"/>
          <ac:spMkLst>
            <pc:docMk/>
            <pc:sldMk cId="995690777" sldId="258"/>
            <ac:spMk id="7" creationId="{1D8CD75C-A974-D276-A18E-F893BF122019}"/>
          </ac:spMkLst>
        </pc:spChg>
        <pc:spChg chg="mod">
          <ac:chgData name="Paul Jordan" userId="ed43b065-ed91-4d94-a70c-3ec7c0759f23" providerId="ADAL" clId="{2C32DC77-3316-5A44-99F4-3731869D0700}" dt="2023-01-20T04:33:32.960" v="13957" actId="207"/>
          <ac:spMkLst>
            <pc:docMk/>
            <pc:sldMk cId="995690777" sldId="258"/>
            <ac:spMk id="8" creationId="{58A28288-960E-6CB3-A7EA-ED0C408AAEB7}"/>
          </ac:spMkLst>
        </pc:spChg>
        <pc:spChg chg="mod">
          <ac:chgData name="Paul Jordan" userId="ed43b065-ed91-4d94-a70c-3ec7c0759f23" providerId="ADAL" clId="{2C32DC77-3316-5A44-99F4-3731869D0700}" dt="2023-01-20T04:33:32.960" v="13957" actId="207"/>
          <ac:spMkLst>
            <pc:docMk/>
            <pc:sldMk cId="995690777" sldId="258"/>
            <ac:spMk id="9" creationId="{FD9B3F50-A0DE-3D4B-8B50-C46DDC9D0CF2}"/>
          </ac:spMkLst>
        </pc:spChg>
        <pc:spChg chg="mod">
          <ac:chgData name="Paul Jordan" userId="ed43b065-ed91-4d94-a70c-3ec7c0759f23" providerId="ADAL" clId="{2C32DC77-3316-5A44-99F4-3731869D0700}" dt="2023-01-20T04:33:32.960" v="13957" actId="207"/>
          <ac:spMkLst>
            <pc:docMk/>
            <pc:sldMk cId="995690777" sldId="258"/>
            <ac:spMk id="10" creationId="{E1D8DD94-D9A8-8118-A4BC-DC3DCE3E466D}"/>
          </ac:spMkLst>
        </pc:spChg>
        <pc:spChg chg="mod">
          <ac:chgData name="Paul Jordan" userId="ed43b065-ed91-4d94-a70c-3ec7c0759f23" providerId="ADAL" clId="{2C32DC77-3316-5A44-99F4-3731869D0700}" dt="2023-01-20T04:39:23.024" v="14147" actId="207"/>
          <ac:spMkLst>
            <pc:docMk/>
            <pc:sldMk cId="995690777" sldId="258"/>
            <ac:spMk id="13" creationId="{2200DD91-2B67-9D1F-A8CF-B96FCE6CBA80}"/>
          </ac:spMkLst>
        </pc:spChg>
        <pc:spChg chg="add del mod modVis">
          <ac:chgData name="Paul Jordan" userId="ed43b065-ed91-4d94-a70c-3ec7c0759f23" providerId="ADAL" clId="{2C32DC77-3316-5A44-99F4-3731869D0700}" dt="2023-01-18T22:40:07.426" v="3150"/>
          <ac:spMkLst>
            <pc:docMk/>
            <pc:sldMk cId="995690777" sldId="258"/>
            <ac:spMk id="14" creationId="{750B7CD3-66A1-E080-3880-5EB7B596FD52}"/>
          </ac:spMkLst>
        </pc:spChg>
        <pc:spChg chg="add del mod modVis">
          <ac:chgData name="Paul Jordan" userId="ed43b065-ed91-4d94-a70c-3ec7c0759f23" providerId="ADAL" clId="{2C32DC77-3316-5A44-99F4-3731869D0700}" dt="2023-01-18T22:42:37.132" v="3490" actId="962"/>
          <ac:spMkLst>
            <pc:docMk/>
            <pc:sldMk cId="995690777" sldId="258"/>
            <ac:spMk id="15" creationId="{A214D131-FD7C-7ACE-4ECD-05F7E31FB652}"/>
          </ac:spMkLst>
        </pc:spChg>
        <pc:spChg chg="add del mod modVis">
          <ac:chgData name="Paul Jordan" userId="ed43b065-ed91-4d94-a70c-3ec7c0759f23" providerId="ADAL" clId="{2C32DC77-3316-5A44-99F4-3731869D0700}" dt="2023-01-18T22:42:41.966" v="3537"/>
          <ac:spMkLst>
            <pc:docMk/>
            <pc:sldMk cId="995690777" sldId="258"/>
            <ac:spMk id="16" creationId="{6DE164E4-4B48-C1C6-BD4A-84754E1B1A7B}"/>
          </ac:spMkLst>
        </pc:spChg>
        <pc:spChg chg="add del mod modVis">
          <ac:chgData name="Paul Jordan" userId="ed43b065-ed91-4d94-a70c-3ec7c0759f23" providerId="ADAL" clId="{2C32DC77-3316-5A44-99F4-3731869D0700}" dt="2023-01-18T22:42:44.942" v="3582"/>
          <ac:spMkLst>
            <pc:docMk/>
            <pc:sldMk cId="995690777" sldId="258"/>
            <ac:spMk id="17" creationId="{EA185127-69A8-B2D3-33BF-4E2BE77F6673}"/>
          </ac:spMkLst>
        </pc:spChg>
        <pc:spChg chg="add del mod modVis">
          <ac:chgData name="Paul Jordan" userId="ed43b065-ed91-4d94-a70c-3ec7c0759f23" providerId="ADAL" clId="{2C32DC77-3316-5A44-99F4-3731869D0700}" dt="2023-01-18T22:42:49.526" v="3633"/>
          <ac:spMkLst>
            <pc:docMk/>
            <pc:sldMk cId="995690777" sldId="258"/>
            <ac:spMk id="18" creationId="{3261D755-3E99-2938-EFB7-BD9E25E06E96}"/>
          </ac:spMkLst>
        </pc:spChg>
        <pc:spChg chg="add del mod modVis">
          <ac:chgData name="Paul Jordan" userId="ed43b065-ed91-4d94-a70c-3ec7c0759f23" providerId="ADAL" clId="{2C32DC77-3316-5A44-99F4-3731869D0700}" dt="2023-01-18T22:42:51.368" v="3685"/>
          <ac:spMkLst>
            <pc:docMk/>
            <pc:sldMk cId="995690777" sldId="258"/>
            <ac:spMk id="19" creationId="{A4A1D1E8-EA57-37D9-3746-1B27C3992028}"/>
          </ac:spMkLst>
        </pc:spChg>
        <pc:spChg chg="add del mod modVis">
          <ac:chgData name="Paul Jordan" userId="ed43b065-ed91-4d94-a70c-3ec7c0759f23" providerId="ADAL" clId="{2C32DC77-3316-5A44-99F4-3731869D0700}" dt="2023-01-18T22:42:52.825" v="3730"/>
          <ac:spMkLst>
            <pc:docMk/>
            <pc:sldMk cId="995690777" sldId="258"/>
            <ac:spMk id="20" creationId="{EB4F9584-345B-9AAE-1995-F10324D296C9}"/>
          </ac:spMkLst>
        </pc:spChg>
        <pc:spChg chg="add del mod modVis">
          <ac:chgData name="Paul Jordan" userId="ed43b065-ed91-4d94-a70c-3ec7c0759f23" providerId="ADAL" clId="{2C32DC77-3316-5A44-99F4-3731869D0700}" dt="2023-01-18T22:42:53.499" v="3775"/>
          <ac:spMkLst>
            <pc:docMk/>
            <pc:sldMk cId="995690777" sldId="258"/>
            <ac:spMk id="21" creationId="{B71BCEDD-6682-A29D-F026-20485D038200}"/>
          </ac:spMkLst>
        </pc:spChg>
        <pc:spChg chg="add del mod modVis">
          <ac:chgData name="Paul Jordan" userId="ed43b065-ed91-4d94-a70c-3ec7c0759f23" providerId="ADAL" clId="{2C32DC77-3316-5A44-99F4-3731869D0700}" dt="2023-01-18T22:42:57.781" v="3831"/>
          <ac:spMkLst>
            <pc:docMk/>
            <pc:sldMk cId="995690777" sldId="258"/>
            <ac:spMk id="22" creationId="{6729906A-A674-8328-E015-C628DCE4F440}"/>
          </ac:spMkLst>
        </pc:spChg>
        <pc:spChg chg="add del mod modVis">
          <ac:chgData name="Paul Jordan" userId="ed43b065-ed91-4d94-a70c-3ec7c0759f23" providerId="ADAL" clId="{2C32DC77-3316-5A44-99F4-3731869D0700}" dt="2023-01-18T22:43:00.119" v="3876"/>
          <ac:spMkLst>
            <pc:docMk/>
            <pc:sldMk cId="995690777" sldId="258"/>
            <ac:spMk id="23" creationId="{5C92A412-490D-7C5F-58F9-9640327CB0B2}"/>
          </ac:spMkLst>
        </pc:spChg>
        <pc:spChg chg="add del mod modVis">
          <ac:chgData name="Paul Jordan" userId="ed43b065-ed91-4d94-a70c-3ec7c0759f23" providerId="ADAL" clId="{2C32DC77-3316-5A44-99F4-3731869D0700}" dt="2023-01-18T22:43:02.318" v="3927"/>
          <ac:spMkLst>
            <pc:docMk/>
            <pc:sldMk cId="995690777" sldId="258"/>
            <ac:spMk id="24" creationId="{93DF733E-CAE2-5FEF-ACE9-D92C9B986305}"/>
          </ac:spMkLst>
        </pc:spChg>
        <pc:spChg chg="add del mod modVis">
          <ac:chgData name="Paul Jordan" userId="ed43b065-ed91-4d94-a70c-3ec7c0759f23" providerId="ADAL" clId="{2C32DC77-3316-5A44-99F4-3731869D0700}" dt="2023-01-18T22:43:03.840" v="3978"/>
          <ac:spMkLst>
            <pc:docMk/>
            <pc:sldMk cId="995690777" sldId="258"/>
            <ac:spMk id="25" creationId="{ED165C86-D0DF-BFCE-1A44-0BBBBB7B03E0}"/>
          </ac:spMkLst>
        </pc:spChg>
        <pc:spChg chg="add del mod modVis">
          <ac:chgData name="Paul Jordan" userId="ed43b065-ed91-4d94-a70c-3ec7c0759f23" providerId="ADAL" clId="{2C32DC77-3316-5A44-99F4-3731869D0700}" dt="2023-01-18T22:43:05.454" v="4023"/>
          <ac:spMkLst>
            <pc:docMk/>
            <pc:sldMk cId="995690777" sldId="258"/>
            <ac:spMk id="26" creationId="{ADFF4357-AF52-844A-CA13-EF6B1F9EEBB8}"/>
          </ac:spMkLst>
        </pc:spChg>
        <pc:spChg chg="add del mod modVis">
          <ac:chgData name="Paul Jordan" userId="ed43b065-ed91-4d94-a70c-3ec7c0759f23" providerId="ADAL" clId="{2C32DC77-3316-5A44-99F4-3731869D0700}" dt="2023-01-18T22:43:07.358" v="4068"/>
          <ac:spMkLst>
            <pc:docMk/>
            <pc:sldMk cId="995690777" sldId="258"/>
            <ac:spMk id="27" creationId="{2E5108FC-560D-A061-1057-4DF69D52E734}"/>
          </ac:spMkLst>
        </pc:spChg>
        <pc:spChg chg="add del mod modVis">
          <ac:chgData name="Paul Jordan" userId="ed43b065-ed91-4d94-a70c-3ec7c0759f23" providerId="ADAL" clId="{2C32DC77-3316-5A44-99F4-3731869D0700}" dt="2023-01-18T22:43:08.174" v="4113"/>
          <ac:spMkLst>
            <pc:docMk/>
            <pc:sldMk cId="995690777" sldId="258"/>
            <ac:spMk id="28" creationId="{984FF546-B840-7B71-14E7-2AC40E0E3342}"/>
          </ac:spMkLst>
        </pc:spChg>
        <pc:spChg chg="add del mod modVis">
          <ac:chgData name="Paul Jordan" userId="ed43b065-ed91-4d94-a70c-3ec7c0759f23" providerId="ADAL" clId="{2C32DC77-3316-5A44-99F4-3731869D0700}" dt="2023-01-18T22:43:10.149" v="4168"/>
          <ac:spMkLst>
            <pc:docMk/>
            <pc:sldMk cId="995690777" sldId="258"/>
            <ac:spMk id="29" creationId="{18D85AF4-A3D4-B8D6-F8EB-A25041C6E533}"/>
          </ac:spMkLst>
        </pc:spChg>
        <pc:spChg chg="add del mod modVis">
          <ac:chgData name="Paul Jordan" userId="ed43b065-ed91-4d94-a70c-3ec7c0759f23" providerId="ADAL" clId="{2C32DC77-3316-5A44-99F4-3731869D0700}" dt="2023-01-18T22:43:15.072" v="4219"/>
          <ac:spMkLst>
            <pc:docMk/>
            <pc:sldMk cId="995690777" sldId="258"/>
            <ac:spMk id="30" creationId="{93DA4498-1B35-57BD-7C18-4C66EF6BDD95}"/>
          </ac:spMkLst>
        </pc:spChg>
        <pc:spChg chg="add del mod modVis">
          <ac:chgData name="Paul Jordan" userId="ed43b065-ed91-4d94-a70c-3ec7c0759f23" providerId="ADAL" clId="{2C32DC77-3316-5A44-99F4-3731869D0700}" dt="2023-01-18T22:43:19.819" v="4267"/>
          <ac:spMkLst>
            <pc:docMk/>
            <pc:sldMk cId="995690777" sldId="258"/>
            <ac:spMk id="31" creationId="{3BB446A9-5863-ABCA-473F-B48658F26398}"/>
          </ac:spMkLst>
        </pc:spChg>
        <pc:graphicFrameChg chg="add mod modVis replST">
          <ac:chgData name="Paul Jordan" userId="ed43b065-ed91-4d94-a70c-3ec7c0759f23" providerId="ADAL" clId="{2C32DC77-3316-5A44-99F4-3731869D0700}" dt="2023-01-18T22:43:19.821" v="4269"/>
          <ac:graphicFrameMkLst>
            <pc:docMk/>
            <pc:sldMk cId="995690777" sldId="258"/>
            <ac:graphicFrameMk id="5" creationId="{DFD066C9-F483-5C1B-73AB-9AADA298E396}"/>
          </ac:graphicFrameMkLst>
        </pc:graphicFrameChg>
        <pc:picChg chg="add mod modCrop">
          <ac:chgData name="Paul Jordan" userId="ed43b065-ed91-4d94-a70c-3ec7c0759f23" providerId="ADAL" clId="{2C32DC77-3316-5A44-99F4-3731869D0700}" dt="2023-01-20T03:13:37.724" v="10327" actId="1036"/>
          <ac:picMkLst>
            <pc:docMk/>
            <pc:sldMk cId="995690777" sldId="258"/>
            <ac:picMk id="2050" creationId="{33F15D9E-B879-9753-7F0C-9C0BEC40A1F2}"/>
          </ac:picMkLst>
        </pc:picChg>
        <pc:cxnChg chg="mod">
          <ac:chgData name="Paul Jordan" userId="ed43b065-ed91-4d94-a70c-3ec7c0759f23" providerId="ADAL" clId="{2C32DC77-3316-5A44-99F4-3731869D0700}" dt="2023-01-19T17:34:53.623" v="9008" actId="408"/>
          <ac:cxnSpMkLst>
            <pc:docMk/>
            <pc:sldMk cId="995690777" sldId="258"/>
            <ac:cxnSpMk id="11" creationId="{70CECEAC-FE13-DCFC-FCF2-FEDEAA93A01E}"/>
          </ac:cxnSpMkLst>
        </pc:cxnChg>
        <pc:cxnChg chg="mod">
          <ac:chgData name="Paul Jordan" userId="ed43b065-ed91-4d94-a70c-3ec7c0759f23" providerId="ADAL" clId="{2C32DC77-3316-5A44-99F4-3731869D0700}" dt="2023-01-19T17:34:53.623" v="9008" actId="408"/>
          <ac:cxnSpMkLst>
            <pc:docMk/>
            <pc:sldMk cId="995690777" sldId="258"/>
            <ac:cxnSpMk id="12" creationId="{1EC1F065-AF45-6F88-05DE-26C8A78B0FD4}"/>
          </ac:cxnSpMkLst>
        </pc:cxnChg>
      </pc:sldChg>
      <pc:sldChg chg="addSp delSp modSp add mod">
        <pc:chgData name="Paul Jordan" userId="ed43b065-ed91-4d94-a70c-3ec7c0759f23" providerId="ADAL" clId="{2C32DC77-3316-5A44-99F4-3731869D0700}" dt="2023-01-20T04:36:11.012" v="14010" actId="207"/>
        <pc:sldMkLst>
          <pc:docMk/>
          <pc:sldMk cId="1303585" sldId="259"/>
        </pc:sldMkLst>
        <pc:spChg chg="mod">
          <ac:chgData name="Paul Jordan" userId="ed43b065-ed91-4d94-a70c-3ec7c0759f23" providerId="ADAL" clId="{2C32DC77-3316-5A44-99F4-3731869D0700}" dt="2023-01-18T22:12:30.738" v="2491" actId="948"/>
          <ac:spMkLst>
            <pc:docMk/>
            <pc:sldMk cId="1303585" sldId="259"/>
            <ac:spMk id="2" creationId="{0FCA8915-49F5-B0A7-3E79-B63CE49D5147}"/>
          </ac:spMkLst>
        </pc:spChg>
        <pc:spChg chg="del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3" creationId="{7F7F7694-9F2E-418D-9BB3-EE5CEB834DC2}"/>
          </ac:spMkLst>
        </pc:spChg>
        <pc:spChg chg="del">
          <ac:chgData name="Paul Jordan" userId="ed43b065-ed91-4d94-a70c-3ec7c0759f23" providerId="ADAL" clId="{2C32DC77-3316-5A44-99F4-3731869D0700}" dt="2023-01-20T03:14:27.744" v="10331" actId="478"/>
          <ac:spMkLst>
            <pc:docMk/>
            <pc:sldMk cId="1303585" sldId="259"/>
            <ac:spMk id="3" creationId="{D3AE4C14-166D-E5D8-B351-4D3EE6F14FC6}"/>
          </ac:spMkLst>
        </pc:spChg>
        <pc:spChg chg="del mod">
          <ac:chgData name="Paul Jordan" userId="ed43b065-ed91-4d94-a70c-3ec7c0759f23" providerId="ADAL" clId="{2C32DC77-3316-5A44-99F4-3731869D0700}" dt="2023-01-18T22:48:10.588" v="4467"/>
          <ac:spMkLst>
            <pc:docMk/>
            <pc:sldMk cId="1303585" sldId="259"/>
            <ac:spMk id="4" creationId="{6A047E8C-A273-5F9A-E1E5-02AF9B75C7FA}"/>
          </ac:spMkLst>
        </pc:spChg>
        <pc:spChg chg="add del mod modVis">
          <ac:chgData name="Paul Jordan" userId="ed43b065-ed91-4d94-a70c-3ec7c0759f23" providerId="ADAL" clId="{2C32DC77-3316-5A44-99F4-3731869D0700}" dt="2023-01-18T22:11:56.640" v="2454"/>
          <ac:spMkLst>
            <pc:docMk/>
            <pc:sldMk cId="1303585" sldId="259"/>
            <ac:spMk id="6" creationId="{44AA11D4-C2BE-31AD-13D6-D53EF865BC97}"/>
          </ac:spMkLst>
        </pc:spChg>
        <pc:spChg chg="add del mod modVis">
          <ac:chgData name="Paul Jordan" userId="ed43b065-ed91-4d94-a70c-3ec7c0759f23" providerId="ADAL" clId="{2C32DC77-3316-5A44-99F4-3731869D0700}" dt="2023-01-18T22:12:30.783" v="2532"/>
          <ac:spMkLst>
            <pc:docMk/>
            <pc:sldMk cId="1303585" sldId="259"/>
            <ac:spMk id="7" creationId="{E1317B46-E3BD-EDDF-71B7-B9544ADE0039}"/>
          </ac:spMkLst>
        </pc:spChg>
        <pc:spChg chg="add del mod">
          <ac:chgData name="Paul Jordan" userId="ed43b065-ed91-4d94-a70c-3ec7c0759f23" providerId="ADAL" clId="{2C32DC77-3316-5A44-99F4-3731869D0700}" dt="2023-01-20T00:37:00.007" v="9774" actId="478"/>
          <ac:spMkLst>
            <pc:docMk/>
            <pc:sldMk cId="1303585" sldId="259"/>
            <ac:spMk id="8" creationId="{71BCC97A-7007-5D8E-9A3B-2E3190E2809F}"/>
          </ac:spMkLst>
        </pc:spChg>
        <pc:spChg chg="mod">
          <ac:chgData name="Paul Jordan" userId="ed43b065-ed91-4d94-a70c-3ec7c0759f23" providerId="ADAL" clId="{2C32DC77-3316-5A44-99F4-3731869D0700}" dt="2023-01-20T03:16:25.491" v="10365"/>
          <ac:spMkLst>
            <pc:docMk/>
            <pc:sldMk cId="1303585" sldId="259"/>
            <ac:spMk id="8" creationId="{B7F01C03-9CF4-DF5A-82C2-7228C37A7E6E}"/>
          </ac:spMkLst>
        </pc:spChg>
        <pc:spChg chg="add del mod">
          <ac:chgData name="Paul Jordan" userId="ed43b065-ed91-4d94-a70c-3ec7c0759f23" providerId="ADAL" clId="{2C32DC77-3316-5A44-99F4-3731869D0700}" dt="2023-01-18T23:04:41.344" v="5278" actId="478"/>
          <ac:spMkLst>
            <pc:docMk/>
            <pc:sldMk cId="1303585" sldId="259"/>
            <ac:spMk id="9" creationId="{E3D7EBE1-7850-2A11-CA84-8D5DA3960766}"/>
          </ac:spMkLst>
        </pc:spChg>
        <pc:spChg chg="mod">
          <ac:chgData name="Paul Jordan" userId="ed43b065-ed91-4d94-a70c-3ec7c0759f23" providerId="ADAL" clId="{2C32DC77-3316-5A44-99F4-3731869D0700}" dt="2023-01-20T01:01:15.098" v="10219"/>
          <ac:spMkLst>
            <pc:docMk/>
            <pc:sldMk cId="1303585" sldId="259"/>
            <ac:spMk id="11" creationId="{D99C9E9B-DC9A-DC0B-A48A-B2539E8B7AFF}"/>
          </ac:spMkLst>
        </pc:spChg>
        <pc:spChg chg="mod">
          <ac:chgData name="Paul Jordan" userId="ed43b065-ed91-4d94-a70c-3ec7c0759f23" providerId="ADAL" clId="{2C32DC77-3316-5A44-99F4-3731869D0700}" dt="2023-01-18T23:22:50.145" v="5991"/>
          <ac:spMkLst>
            <pc:docMk/>
            <pc:sldMk cId="1303585" sldId="259"/>
            <ac:spMk id="12" creationId="{3F474BE4-00AE-A120-D7C5-AE2A03D935D1}"/>
          </ac:spMkLst>
        </pc:spChg>
        <pc:spChg chg="mod">
          <ac:chgData name="Paul Jordan" userId="ed43b065-ed91-4d94-a70c-3ec7c0759f23" providerId="ADAL" clId="{2C32DC77-3316-5A44-99F4-3731869D0700}" dt="2023-01-20T01:01:15.125" v="10223"/>
          <ac:spMkLst>
            <pc:docMk/>
            <pc:sldMk cId="1303585" sldId="259"/>
            <ac:spMk id="14" creationId="{48AC26D7-B307-B26D-AB04-2A1E9E9212D1}"/>
          </ac:spMkLst>
        </pc:spChg>
        <pc:spChg chg="mod">
          <ac:chgData name="Paul Jordan" userId="ed43b065-ed91-4d94-a70c-3ec7c0759f23" providerId="ADAL" clId="{2C32DC77-3316-5A44-99F4-3731869D0700}" dt="2023-01-18T23:15:16.978" v="5510"/>
          <ac:spMkLst>
            <pc:docMk/>
            <pc:sldMk cId="1303585" sldId="259"/>
            <ac:spMk id="15" creationId="{820404C3-842B-455D-4922-19A8B2C4710B}"/>
          </ac:spMkLst>
        </pc:spChg>
        <pc:spChg chg="mod">
          <ac:chgData name="Paul Jordan" userId="ed43b065-ed91-4d94-a70c-3ec7c0759f23" providerId="ADAL" clId="{2C32DC77-3316-5A44-99F4-3731869D0700}" dt="2023-01-20T01:01:15.153" v="10227"/>
          <ac:spMkLst>
            <pc:docMk/>
            <pc:sldMk cId="1303585" sldId="259"/>
            <ac:spMk id="17" creationId="{0664B9F4-ACD3-9BBF-FFC4-13B994E8F565}"/>
          </ac:spMkLst>
        </pc:spChg>
        <pc:spChg chg="mod">
          <ac:chgData name="Paul Jordan" userId="ed43b065-ed91-4d94-a70c-3ec7c0759f23" providerId="ADAL" clId="{2C32DC77-3316-5A44-99F4-3731869D0700}" dt="2023-01-18T23:04:05.633" v="5270"/>
          <ac:spMkLst>
            <pc:docMk/>
            <pc:sldMk cId="1303585" sldId="259"/>
            <ac:spMk id="18" creationId="{B085E3D1-5F13-C832-E6EA-F53CE764A772}"/>
          </ac:spMkLst>
        </pc:spChg>
        <pc:spChg chg="mod">
          <ac:chgData name="Paul Jordan" userId="ed43b065-ed91-4d94-a70c-3ec7c0759f23" providerId="ADAL" clId="{2C32DC77-3316-5A44-99F4-3731869D0700}" dt="2023-01-18T23:04:05.633" v="5270"/>
          <ac:spMkLst>
            <pc:docMk/>
            <pc:sldMk cId="1303585" sldId="259"/>
            <ac:spMk id="19" creationId="{511085E2-650F-447A-38E7-0720B33CD36D}"/>
          </ac:spMkLst>
        </pc:spChg>
        <pc:spChg chg="mod">
          <ac:chgData name="Paul Jordan" userId="ed43b065-ed91-4d94-a70c-3ec7c0759f23" providerId="ADAL" clId="{2C32DC77-3316-5A44-99F4-3731869D0700}" dt="2023-01-20T01:01:15.179" v="10231"/>
          <ac:spMkLst>
            <pc:docMk/>
            <pc:sldMk cId="1303585" sldId="259"/>
            <ac:spMk id="20" creationId="{D4D8299F-078E-4EC5-72DF-1F0B4D029FF7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20" creationId="{F63AA64E-4A32-9331-0684-31193022D411}"/>
          </ac:spMkLst>
        </pc:spChg>
        <pc:spChg chg="mod">
          <ac:chgData name="Paul Jordan" userId="ed43b065-ed91-4d94-a70c-3ec7c0759f23" providerId="ADAL" clId="{2C32DC77-3316-5A44-99F4-3731869D0700}" dt="2023-01-18T23:22:50.197" v="5999"/>
          <ac:spMkLst>
            <pc:docMk/>
            <pc:sldMk cId="1303585" sldId="259"/>
            <ac:spMk id="22" creationId="{67C3847B-95D7-0D2B-4091-AB3E8DCA9292}"/>
          </ac:spMkLst>
        </pc:spChg>
        <pc:spChg chg="mod">
          <ac:chgData name="Paul Jordan" userId="ed43b065-ed91-4d94-a70c-3ec7c0759f23" providerId="ADAL" clId="{2C32DC77-3316-5A44-99F4-3731869D0700}" dt="2023-01-18T23:22:50.197" v="5999"/>
          <ac:spMkLst>
            <pc:docMk/>
            <pc:sldMk cId="1303585" sldId="259"/>
            <ac:spMk id="23" creationId="{78F6E7D6-263C-FE3C-D04C-443F5884223E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24" creationId="{A96B5856-2303-69C4-00B4-A7D0630D6C90}"/>
          </ac:spMkLst>
        </pc:spChg>
        <pc:spChg chg="mod">
          <ac:chgData name="Paul Jordan" userId="ed43b065-ed91-4d94-a70c-3ec7c0759f23" providerId="ADAL" clId="{2C32DC77-3316-5A44-99F4-3731869D0700}" dt="2023-01-20T03:16:25.519" v="10369"/>
          <ac:spMkLst>
            <pc:docMk/>
            <pc:sldMk cId="1303585" sldId="259"/>
            <ac:spMk id="24" creationId="{D8878CD2-7DC3-1B7B-3DC3-5C2103C4C841}"/>
          </ac:spMkLst>
        </pc:spChg>
        <pc:spChg chg="mod">
          <ac:chgData name="Paul Jordan" userId="ed43b065-ed91-4d94-a70c-3ec7c0759f23" providerId="ADAL" clId="{2C32DC77-3316-5A44-99F4-3731869D0700}" dt="2023-01-18T23:22:50.256" v="6007"/>
          <ac:spMkLst>
            <pc:docMk/>
            <pc:sldMk cId="1303585" sldId="259"/>
            <ac:spMk id="26" creationId="{4B089AA6-E229-87D2-32DC-F3C8A838FCE2}"/>
          </ac:spMkLst>
        </pc:spChg>
        <pc:spChg chg="mod">
          <ac:chgData name="Paul Jordan" userId="ed43b065-ed91-4d94-a70c-3ec7c0759f23" providerId="ADAL" clId="{2C32DC77-3316-5A44-99F4-3731869D0700}" dt="2023-01-20T04:18:49.289" v="13337"/>
          <ac:spMkLst>
            <pc:docMk/>
            <pc:sldMk cId="1303585" sldId="259"/>
            <ac:spMk id="27" creationId="{4DD8660C-64FD-977A-66F8-BF7E81EC3006}"/>
          </ac:spMkLst>
        </pc:spChg>
        <pc:spChg chg="mod">
          <ac:chgData name="Paul Jordan" userId="ed43b065-ed91-4d94-a70c-3ec7c0759f23" providerId="ADAL" clId="{2C32DC77-3316-5A44-99F4-3731869D0700}" dt="2023-01-18T23:22:50.256" v="6007"/>
          <ac:spMkLst>
            <pc:docMk/>
            <pc:sldMk cId="1303585" sldId="259"/>
            <ac:spMk id="27" creationId="{8218FECB-3423-F483-6FFF-59F0A33A1E78}"/>
          </ac:spMkLst>
        </pc:spChg>
        <pc:spChg chg="mod">
          <ac:chgData name="Paul Jordan" userId="ed43b065-ed91-4d94-a70c-3ec7c0759f23" providerId="ADAL" clId="{2C32DC77-3316-5A44-99F4-3731869D0700}" dt="2023-01-18T23:22:50.289" v="6011"/>
          <ac:spMkLst>
            <pc:docMk/>
            <pc:sldMk cId="1303585" sldId="259"/>
            <ac:spMk id="29" creationId="{18F5AE0B-4BB3-67E5-B9A8-420979615DDA}"/>
          </ac:spMkLst>
        </pc:spChg>
        <pc:spChg chg="mod">
          <ac:chgData name="Paul Jordan" userId="ed43b065-ed91-4d94-a70c-3ec7c0759f23" providerId="ADAL" clId="{2C32DC77-3316-5A44-99F4-3731869D0700}" dt="2023-01-20T04:19:23.267" v="13341"/>
          <ac:spMkLst>
            <pc:docMk/>
            <pc:sldMk cId="1303585" sldId="259"/>
            <ac:spMk id="29" creationId="{4A2C6DE2-8668-CDA7-CAA9-C7CF8798312D}"/>
          </ac:spMkLst>
        </pc:spChg>
        <pc:spChg chg="add del">
          <ac:chgData name="Paul Jordan" userId="ed43b065-ed91-4d94-a70c-3ec7c0759f23" providerId="ADAL" clId="{2C32DC77-3316-5A44-99F4-3731869D0700}" dt="2023-01-20T04:19:43.720" v="13343" actId="478"/>
          <ac:spMkLst>
            <pc:docMk/>
            <pc:sldMk cId="1303585" sldId="259"/>
            <ac:spMk id="30" creationId="{44335EFD-9391-4859-C6F3-6D5189E4FC6C}"/>
          </ac:spMkLst>
        </pc:spChg>
        <pc:spChg chg="mod">
          <ac:chgData name="Paul Jordan" userId="ed43b065-ed91-4d94-a70c-3ec7c0759f23" providerId="ADAL" clId="{2C32DC77-3316-5A44-99F4-3731869D0700}" dt="2023-01-18T23:22:50.289" v="6011"/>
          <ac:spMkLst>
            <pc:docMk/>
            <pc:sldMk cId="1303585" sldId="259"/>
            <ac:spMk id="30" creationId="{FA870FFF-4AD9-890B-B734-108BCA9B2424}"/>
          </ac:spMkLst>
        </pc:spChg>
        <pc:spChg chg="add mod">
          <ac:chgData name="Paul Jordan" userId="ed43b065-ed91-4d94-a70c-3ec7c0759f23" providerId="ADAL" clId="{2C32DC77-3316-5A44-99F4-3731869D0700}" dt="2023-01-20T04:20:20.015" v="13348" actId="14100"/>
          <ac:spMkLst>
            <pc:docMk/>
            <pc:sldMk cId="1303585" sldId="259"/>
            <ac:spMk id="31" creationId="{C40F0057-FAED-8BEA-1256-9402C23BDF59}"/>
          </ac:spMkLst>
        </pc:spChg>
        <pc:spChg chg="add mod">
          <ac:chgData name="Paul Jordan" userId="ed43b065-ed91-4d94-a70c-3ec7c0759f23" providerId="ADAL" clId="{2C32DC77-3316-5A44-99F4-3731869D0700}" dt="2023-01-20T04:20:35.848" v="13353" actId="14100"/>
          <ac:spMkLst>
            <pc:docMk/>
            <pc:sldMk cId="1303585" sldId="259"/>
            <ac:spMk id="32" creationId="{36929C4F-C4BC-E2F6-1BE3-3EAEA335FDCB}"/>
          </ac:spMkLst>
        </pc:spChg>
        <pc:spChg chg="mod">
          <ac:chgData name="Paul Jordan" userId="ed43b065-ed91-4d94-a70c-3ec7c0759f23" providerId="ADAL" clId="{2C32DC77-3316-5A44-99F4-3731869D0700}" dt="2023-01-18T23:22:50.322" v="6015"/>
          <ac:spMkLst>
            <pc:docMk/>
            <pc:sldMk cId="1303585" sldId="259"/>
            <ac:spMk id="32" creationId="{C209ECEF-CDEF-FE97-18AB-ED4B0E9BF77D}"/>
          </ac:spMkLst>
        </pc:spChg>
        <pc:spChg chg="mod">
          <ac:chgData name="Paul Jordan" userId="ed43b065-ed91-4d94-a70c-3ec7c0759f23" providerId="ADAL" clId="{2C32DC77-3316-5A44-99F4-3731869D0700}" dt="2023-01-18T23:22:50.322" v="6015"/>
          <ac:spMkLst>
            <pc:docMk/>
            <pc:sldMk cId="1303585" sldId="259"/>
            <ac:spMk id="33" creationId="{323945DB-D511-7463-60FA-5477A3864ADF}"/>
          </ac:spMkLst>
        </pc:spChg>
        <pc:spChg chg="mod">
          <ac:chgData name="Paul Jordan" userId="ed43b065-ed91-4d94-a70c-3ec7c0759f23" providerId="ADAL" clId="{2C32DC77-3316-5A44-99F4-3731869D0700}" dt="2023-01-18T23:22:50.367" v="6019"/>
          <ac:spMkLst>
            <pc:docMk/>
            <pc:sldMk cId="1303585" sldId="259"/>
            <ac:spMk id="35" creationId="{F50704DF-0114-9DE0-182F-A4BA45B9F808}"/>
          </ac:spMkLst>
        </pc:spChg>
        <pc:spChg chg="mod">
          <ac:chgData name="Paul Jordan" userId="ed43b065-ed91-4d94-a70c-3ec7c0759f23" providerId="ADAL" clId="{2C32DC77-3316-5A44-99F4-3731869D0700}" dt="2023-01-18T23:22:50.367" v="6019"/>
          <ac:spMkLst>
            <pc:docMk/>
            <pc:sldMk cId="1303585" sldId="259"/>
            <ac:spMk id="36" creationId="{D3B58F2E-BA5D-17FE-B767-E190AE3E7354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37" creationId="{4616D247-8221-917F-65F9-34CA66F6DDAC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38" creationId="{5AB5A446-4A04-416B-D294-98FDA823B2B7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39" creationId="{1A516B71-AA65-8498-8DE0-8296C6564BB1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40" creationId="{CBEE9FDE-AE4C-596E-589F-CF6BE5287684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41" creationId="{01887906-01F8-5083-C817-5B4C4030E312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42" creationId="{A05197C8-B04B-84CD-80B8-D460B133174C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43" creationId="{9BFE4451-3365-716C-0541-1D3BED25AC3A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44" creationId="{C9AEFC75-35C5-C545-2F21-2CD0AF10F9B1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45" creationId="{91AB443B-F387-EDED-C337-B97507EB6AC6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46" creationId="{3DA798A6-9C0D-D169-8872-449BD0FA2583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47" creationId="{3A4AFE3B-5A9C-8F86-0FA8-A3B76E25774B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48" creationId="{12731265-1094-F9FC-290E-1F001F8D34DE}"/>
          </ac:spMkLst>
        </pc:spChg>
        <pc:spChg chg="add mod">
          <ac:chgData name="Paul Jordan" userId="ed43b065-ed91-4d94-a70c-3ec7c0759f23" providerId="ADAL" clId="{2C32DC77-3316-5A44-99F4-3731869D0700}" dt="2023-01-18T23:10:39.758" v="5428"/>
          <ac:spMkLst>
            <pc:docMk/>
            <pc:sldMk cId="1303585" sldId="259"/>
            <ac:spMk id="49" creationId="{897EA92D-9BA7-9571-AB7C-CD52A5B2497D}"/>
          </ac:spMkLst>
        </pc:spChg>
        <pc:spChg chg="add mod">
          <ac:chgData name="Paul Jordan" userId="ed43b065-ed91-4d94-a70c-3ec7c0759f23" providerId="ADAL" clId="{2C32DC77-3316-5A44-99F4-3731869D0700}" dt="2023-01-18T23:10:39.758" v="5428"/>
          <ac:spMkLst>
            <pc:docMk/>
            <pc:sldMk cId="1303585" sldId="259"/>
            <ac:spMk id="50" creationId="{63BEA507-9083-14CC-A33C-0224AE0D58CD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51" creationId="{335FA014-CF11-BAE9-FBF1-3C9C58B9B493}"/>
          </ac:spMkLst>
        </pc:spChg>
        <pc:spChg chg="mod">
          <ac:chgData name="Paul Jordan" userId="ed43b065-ed91-4d94-a70c-3ec7c0759f23" providerId="ADAL" clId="{2C32DC77-3316-5A44-99F4-3731869D0700}" dt="2023-01-18T23:22:51.017" v="6075"/>
          <ac:spMkLst>
            <pc:docMk/>
            <pc:sldMk cId="1303585" sldId="259"/>
            <ac:spMk id="53" creationId="{3580D78A-84DB-766D-E384-F4B806EB519E}"/>
          </ac:spMkLst>
        </pc:spChg>
        <pc:spChg chg="mod">
          <ac:chgData name="Paul Jordan" userId="ed43b065-ed91-4d94-a70c-3ec7c0759f23" providerId="ADAL" clId="{2C32DC77-3316-5A44-99F4-3731869D0700}" dt="2023-01-18T23:22:51.017" v="6075"/>
          <ac:spMkLst>
            <pc:docMk/>
            <pc:sldMk cId="1303585" sldId="259"/>
            <ac:spMk id="54" creationId="{303D5BFE-B750-D4FA-602E-C0272A3ACC9B}"/>
          </ac:spMkLst>
        </pc:spChg>
        <pc:spChg chg="mod">
          <ac:chgData name="Paul Jordan" userId="ed43b065-ed91-4d94-a70c-3ec7c0759f23" providerId="ADAL" clId="{2C32DC77-3316-5A44-99F4-3731869D0700}" dt="2023-01-18T23:22:51.058" v="6079"/>
          <ac:spMkLst>
            <pc:docMk/>
            <pc:sldMk cId="1303585" sldId="259"/>
            <ac:spMk id="56" creationId="{C3E08408-E48E-28C3-58C4-2D091DA54397}"/>
          </ac:spMkLst>
        </pc:spChg>
        <pc:spChg chg="mod">
          <ac:chgData name="Paul Jordan" userId="ed43b065-ed91-4d94-a70c-3ec7c0759f23" providerId="ADAL" clId="{2C32DC77-3316-5A44-99F4-3731869D0700}" dt="2023-01-18T23:22:51.058" v="6079"/>
          <ac:spMkLst>
            <pc:docMk/>
            <pc:sldMk cId="1303585" sldId="259"/>
            <ac:spMk id="57" creationId="{1003C2ED-4F9B-B5C5-DB81-2C600DDFCE89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58" creationId="{1788D122-CD46-9458-42D7-030D4688CF6C}"/>
          </ac:spMkLst>
        </pc:spChg>
        <pc:spChg chg="add del mod">
          <ac:chgData name="Paul Jordan" userId="ed43b065-ed91-4d94-a70c-3ec7c0759f23" providerId="ADAL" clId="{2C32DC77-3316-5A44-99F4-3731869D0700}" dt="2023-01-18T23:23:39.059" v="6240" actId="478"/>
          <ac:spMkLst>
            <pc:docMk/>
            <pc:sldMk cId="1303585" sldId="259"/>
            <ac:spMk id="59" creationId="{9536375B-3157-FA9E-2116-4FE42D8D1FBB}"/>
          </ac:spMkLst>
        </pc:spChg>
        <pc:spChg chg="mod">
          <ac:chgData name="Paul Jordan" userId="ed43b065-ed91-4d94-a70c-3ec7c0759f23" providerId="ADAL" clId="{2C32DC77-3316-5A44-99F4-3731869D0700}" dt="2023-01-18T23:22:51.240" v="6091"/>
          <ac:spMkLst>
            <pc:docMk/>
            <pc:sldMk cId="1303585" sldId="259"/>
            <ac:spMk id="61" creationId="{D477AD7B-21C4-57F0-B241-E8B7B0E46CE8}"/>
          </ac:spMkLst>
        </pc:spChg>
        <pc:spChg chg="mod">
          <ac:chgData name="Paul Jordan" userId="ed43b065-ed91-4d94-a70c-3ec7c0759f23" providerId="ADAL" clId="{2C32DC77-3316-5A44-99F4-3731869D0700}" dt="2023-01-18T23:22:51.240" v="6091"/>
          <ac:spMkLst>
            <pc:docMk/>
            <pc:sldMk cId="1303585" sldId="259"/>
            <ac:spMk id="62" creationId="{5F58D51F-E8B8-F565-432D-AC58144725F2}"/>
          </ac:spMkLst>
        </pc:spChg>
        <pc:spChg chg="mod">
          <ac:chgData name="Paul Jordan" userId="ed43b065-ed91-4d94-a70c-3ec7c0759f23" providerId="ADAL" clId="{2C32DC77-3316-5A44-99F4-3731869D0700}" dt="2023-01-18T23:22:51.295" v="6095"/>
          <ac:spMkLst>
            <pc:docMk/>
            <pc:sldMk cId="1303585" sldId="259"/>
            <ac:spMk id="64" creationId="{4A9965A6-2CAD-E1CE-567E-DD17E571152D}"/>
          </ac:spMkLst>
        </pc:spChg>
        <pc:spChg chg="mod">
          <ac:chgData name="Paul Jordan" userId="ed43b065-ed91-4d94-a70c-3ec7c0759f23" providerId="ADAL" clId="{2C32DC77-3316-5A44-99F4-3731869D0700}" dt="2023-01-18T23:22:51.295" v="6095"/>
          <ac:spMkLst>
            <pc:docMk/>
            <pc:sldMk cId="1303585" sldId="259"/>
            <ac:spMk id="65" creationId="{28EA1A3B-5CA4-8A6E-2E4B-BC8C22418506}"/>
          </ac:spMkLst>
        </pc:spChg>
        <pc:spChg chg="mod">
          <ac:chgData name="Paul Jordan" userId="ed43b065-ed91-4d94-a70c-3ec7c0759f23" providerId="ADAL" clId="{2C32DC77-3316-5A44-99F4-3731869D0700}" dt="2023-01-18T23:22:51.357" v="6099"/>
          <ac:spMkLst>
            <pc:docMk/>
            <pc:sldMk cId="1303585" sldId="259"/>
            <ac:spMk id="67" creationId="{B81591C5-49CB-98E0-58E2-D667510D9E5A}"/>
          </ac:spMkLst>
        </pc:spChg>
        <pc:spChg chg="mod">
          <ac:chgData name="Paul Jordan" userId="ed43b065-ed91-4d94-a70c-3ec7c0759f23" providerId="ADAL" clId="{2C32DC77-3316-5A44-99F4-3731869D0700}" dt="2023-01-18T23:22:51.357" v="6099"/>
          <ac:spMkLst>
            <pc:docMk/>
            <pc:sldMk cId="1303585" sldId="259"/>
            <ac:spMk id="68" creationId="{8D941585-B153-0A93-84CA-FF5ADDD1D46E}"/>
          </ac:spMkLst>
        </pc:spChg>
        <pc:spChg chg="mod">
          <ac:chgData name="Paul Jordan" userId="ed43b065-ed91-4d94-a70c-3ec7c0759f23" providerId="ADAL" clId="{2C32DC77-3316-5A44-99F4-3731869D0700}" dt="2023-01-18T23:22:51.417" v="6103"/>
          <ac:spMkLst>
            <pc:docMk/>
            <pc:sldMk cId="1303585" sldId="259"/>
            <ac:spMk id="70" creationId="{FCCD8E3D-780E-E101-C491-73195BBB0CDD}"/>
          </ac:spMkLst>
        </pc:spChg>
        <pc:spChg chg="mod">
          <ac:chgData name="Paul Jordan" userId="ed43b065-ed91-4d94-a70c-3ec7c0759f23" providerId="ADAL" clId="{2C32DC77-3316-5A44-99F4-3731869D0700}" dt="2023-01-18T23:22:51.417" v="6103"/>
          <ac:spMkLst>
            <pc:docMk/>
            <pc:sldMk cId="1303585" sldId="259"/>
            <ac:spMk id="71" creationId="{AB8E0C72-D70D-1148-40DB-590A2D149159}"/>
          </ac:spMkLst>
        </pc:spChg>
        <pc:spChg chg="mod">
          <ac:chgData name="Paul Jordan" userId="ed43b065-ed91-4d94-a70c-3ec7c0759f23" providerId="ADAL" clId="{2C32DC77-3316-5A44-99F4-3731869D0700}" dt="2023-01-18T23:22:51.480" v="6107"/>
          <ac:spMkLst>
            <pc:docMk/>
            <pc:sldMk cId="1303585" sldId="259"/>
            <ac:spMk id="73" creationId="{98E94024-4335-EA2A-4A16-D6780A6C82FB}"/>
          </ac:spMkLst>
        </pc:spChg>
        <pc:spChg chg="mod">
          <ac:chgData name="Paul Jordan" userId="ed43b065-ed91-4d94-a70c-3ec7c0759f23" providerId="ADAL" clId="{2C32DC77-3316-5A44-99F4-3731869D0700}" dt="2023-01-18T23:22:51.480" v="6107"/>
          <ac:spMkLst>
            <pc:docMk/>
            <pc:sldMk cId="1303585" sldId="259"/>
            <ac:spMk id="74" creationId="{F0328F5B-60AC-81BE-7C9F-1B7D8C8BF630}"/>
          </ac:spMkLst>
        </pc:spChg>
        <pc:spChg chg="mod">
          <ac:chgData name="Paul Jordan" userId="ed43b065-ed91-4d94-a70c-3ec7c0759f23" providerId="ADAL" clId="{2C32DC77-3316-5A44-99F4-3731869D0700}" dt="2023-01-18T23:22:51.565" v="6111"/>
          <ac:spMkLst>
            <pc:docMk/>
            <pc:sldMk cId="1303585" sldId="259"/>
            <ac:spMk id="76" creationId="{D6DBB8EB-16B4-642D-28D4-0F52698ADE64}"/>
          </ac:spMkLst>
        </pc:spChg>
        <pc:spChg chg="mod">
          <ac:chgData name="Paul Jordan" userId="ed43b065-ed91-4d94-a70c-3ec7c0759f23" providerId="ADAL" clId="{2C32DC77-3316-5A44-99F4-3731869D0700}" dt="2023-01-18T23:22:51.565" v="6111"/>
          <ac:spMkLst>
            <pc:docMk/>
            <pc:sldMk cId="1303585" sldId="259"/>
            <ac:spMk id="77" creationId="{54DE87DF-713B-5478-6546-9B7E231A7770}"/>
          </ac:spMkLst>
        </pc:spChg>
        <pc:spChg chg="mod">
          <ac:chgData name="Paul Jordan" userId="ed43b065-ed91-4d94-a70c-3ec7c0759f23" providerId="ADAL" clId="{2C32DC77-3316-5A44-99F4-3731869D0700}" dt="2023-01-18T23:22:51.612" v="6115"/>
          <ac:spMkLst>
            <pc:docMk/>
            <pc:sldMk cId="1303585" sldId="259"/>
            <ac:spMk id="79" creationId="{40776FE0-6DAF-FDB7-F72E-F1720027F2C5}"/>
          </ac:spMkLst>
        </pc:spChg>
        <pc:spChg chg="mod">
          <ac:chgData name="Paul Jordan" userId="ed43b065-ed91-4d94-a70c-3ec7c0759f23" providerId="ADAL" clId="{2C32DC77-3316-5A44-99F4-3731869D0700}" dt="2023-01-18T23:22:51.612" v="6115"/>
          <ac:spMkLst>
            <pc:docMk/>
            <pc:sldMk cId="1303585" sldId="259"/>
            <ac:spMk id="80" creationId="{61AAD099-71D0-4C73-592F-A4CF8D1CD5B0}"/>
          </ac:spMkLst>
        </pc:spChg>
        <pc:spChg chg="mod">
          <ac:chgData name="Paul Jordan" userId="ed43b065-ed91-4d94-a70c-3ec7c0759f23" providerId="ADAL" clId="{2C32DC77-3316-5A44-99F4-3731869D0700}" dt="2023-01-18T23:22:51.683" v="6119"/>
          <ac:spMkLst>
            <pc:docMk/>
            <pc:sldMk cId="1303585" sldId="259"/>
            <ac:spMk id="82" creationId="{7E95FD35-102C-62DA-3736-8DE6EE378054}"/>
          </ac:spMkLst>
        </pc:spChg>
        <pc:spChg chg="mod">
          <ac:chgData name="Paul Jordan" userId="ed43b065-ed91-4d94-a70c-3ec7c0759f23" providerId="ADAL" clId="{2C32DC77-3316-5A44-99F4-3731869D0700}" dt="2023-01-18T23:22:51.683" v="6119"/>
          <ac:spMkLst>
            <pc:docMk/>
            <pc:sldMk cId="1303585" sldId="259"/>
            <ac:spMk id="83" creationId="{B6822AEF-1456-C22E-5964-5A61C55C7E62}"/>
          </ac:spMkLst>
        </pc:spChg>
        <pc:spChg chg="mod">
          <ac:chgData name="Paul Jordan" userId="ed43b065-ed91-4d94-a70c-3ec7c0759f23" providerId="ADAL" clId="{2C32DC77-3316-5A44-99F4-3731869D0700}" dt="2023-01-18T23:22:51.784" v="6123"/>
          <ac:spMkLst>
            <pc:docMk/>
            <pc:sldMk cId="1303585" sldId="259"/>
            <ac:spMk id="85" creationId="{EA0CEBBB-C365-7D9A-6D1C-8C9C8A9EC09A}"/>
          </ac:spMkLst>
        </pc:spChg>
        <pc:spChg chg="mod">
          <ac:chgData name="Paul Jordan" userId="ed43b065-ed91-4d94-a70c-3ec7c0759f23" providerId="ADAL" clId="{2C32DC77-3316-5A44-99F4-3731869D0700}" dt="2023-01-18T23:22:51.784" v="6123"/>
          <ac:spMkLst>
            <pc:docMk/>
            <pc:sldMk cId="1303585" sldId="259"/>
            <ac:spMk id="86" creationId="{3D20432B-190B-DFDD-1446-DC2716412F4B}"/>
          </ac:spMkLst>
        </pc:spChg>
        <pc:spChg chg="mod">
          <ac:chgData name="Paul Jordan" userId="ed43b065-ed91-4d94-a70c-3ec7c0759f23" providerId="ADAL" clId="{2C32DC77-3316-5A44-99F4-3731869D0700}" dt="2023-01-18T23:22:51.868" v="6127"/>
          <ac:spMkLst>
            <pc:docMk/>
            <pc:sldMk cId="1303585" sldId="259"/>
            <ac:spMk id="88" creationId="{47CDEEF7-4F04-43FC-E2C3-F9A54073526C}"/>
          </ac:spMkLst>
        </pc:spChg>
        <pc:spChg chg="mod">
          <ac:chgData name="Paul Jordan" userId="ed43b065-ed91-4d94-a70c-3ec7c0759f23" providerId="ADAL" clId="{2C32DC77-3316-5A44-99F4-3731869D0700}" dt="2023-01-18T23:22:51.868" v="6127"/>
          <ac:spMkLst>
            <pc:docMk/>
            <pc:sldMk cId="1303585" sldId="259"/>
            <ac:spMk id="89" creationId="{582EF644-E28B-877A-F542-EA4DC6372F4B}"/>
          </ac:spMkLst>
        </pc:spChg>
        <pc:spChg chg="mod">
          <ac:chgData name="Paul Jordan" userId="ed43b065-ed91-4d94-a70c-3ec7c0759f23" providerId="ADAL" clId="{2C32DC77-3316-5A44-99F4-3731869D0700}" dt="2023-01-18T23:22:51.943" v="6131"/>
          <ac:spMkLst>
            <pc:docMk/>
            <pc:sldMk cId="1303585" sldId="259"/>
            <ac:spMk id="91" creationId="{E076E5D9-56C8-CE8F-5197-17CF5DF7BBD5}"/>
          </ac:spMkLst>
        </pc:spChg>
        <pc:spChg chg="mod">
          <ac:chgData name="Paul Jordan" userId="ed43b065-ed91-4d94-a70c-3ec7c0759f23" providerId="ADAL" clId="{2C32DC77-3316-5A44-99F4-3731869D0700}" dt="2023-01-18T23:22:51.943" v="6131"/>
          <ac:spMkLst>
            <pc:docMk/>
            <pc:sldMk cId="1303585" sldId="259"/>
            <ac:spMk id="92" creationId="{257DF4C8-22DE-B2CD-878B-F7FA5C6FC9D5}"/>
          </ac:spMkLst>
        </pc:spChg>
        <pc:spChg chg="mod">
          <ac:chgData name="Paul Jordan" userId="ed43b065-ed91-4d94-a70c-3ec7c0759f23" providerId="ADAL" clId="{2C32DC77-3316-5A44-99F4-3731869D0700}" dt="2023-01-18T23:22:52.063" v="6135"/>
          <ac:spMkLst>
            <pc:docMk/>
            <pc:sldMk cId="1303585" sldId="259"/>
            <ac:spMk id="94" creationId="{166A99D7-0AC7-F593-3148-66C0401AC754}"/>
          </ac:spMkLst>
        </pc:spChg>
        <pc:spChg chg="mod">
          <ac:chgData name="Paul Jordan" userId="ed43b065-ed91-4d94-a70c-3ec7c0759f23" providerId="ADAL" clId="{2C32DC77-3316-5A44-99F4-3731869D0700}" dt="2023-01-18T23:22:52.063" v="6135"/>
          <ac:spMkLst>
            <pc:docMk/>
            <pc:sldMk cId="1303585" sldId="259"/>
            <ac:spMk id="95" creationId="{F0A2FCD9-9BF9-812D-B863-C0AA38E9503D}"/>
          </ac:spMkLst>
        </pc:spChg>
        <pc:spChg chg="add del mod">
          <ac:chgData name="Paul Jordan" userId="ed43b065-ed91-4d94-a70c-3ec7c0759f23" providerId="ADAL" clId="{2C32DC77-3316-5A44-99F4-3731869D0700}" dt="2023-01-18T23:14:14.447" v="5467" actId="478"/>
          <ac:spMkLst>
            <pc:docMk/>
            <pc:sldMk cId="1303585" sldId="259"/>
            <ac:spMk id="96" creationId="{C1EF82E0-A3CF-B852-130B-D54344FBB20B}"/>
          </ac:spMkLst>
        </pc:spChg>
        <pc:spChg chg="add del mod">
          <ac:chgData name="Paul Jordan" userId="ed43b065-ed91-4d94-a70c-3ec7c0759f23" providerId="ADAL" clId="{2C32DC77-3316-5A44-99F4-3731869D0700}" dt="2023-01-18T23:14:14.447" v="5467" actId="478"/>
          <ac:spMkLst>
            <pc:docMk/>
            <pc:sldMk cId="1303585" sldId="259"/>
            <ac:spMk id="97" creationId="{F495C539-017F-E5A2-E013-3770C2E3B460}"/>
          </ac:spMkLst>
        </pc:spChg>
        <pc:spChg chg="add del mod">
          <ac:chgData name="Paul Jordan" userId="ed43b065-ed91-4d94-a70c-3ec7c0759f23" providerId="ADAL" clId="{2C32DC77-3316-5A44-99F4-3731869D0700}" dt="2023-01-18T23:14:14.447" v="5467" actId="478"/>
          <ac:spMkLst>
            <pc:docMk/>
            <pc:sldMk cId="1303585" sldId="259"/>
            <ac:spMk id="98" creationId="{72639066-9591-49F5-0850-7FEA4A8F4651}"/>
          </ac:spMkLst>
        </pc:spChg>
        <pc:spChg chg="add del mod">
          <ac:chgData name="Paul Jordan" userId="ed43b065-ed91-4d94-a70c-3ec7c0759f23" providerId="ADAL" clId="{2C32DC77-3316-5A44-99F4-3731869D0700}" dt="2023-01-18T23:14:11.087" v="5466" actId="478"/>
          <ac:spMkLst>
            <pc:docMk/>
            <pc:sldMk cId="1303585" sldId="259"/>
            <ac:spMk id="99" creationId="{FC73A67E-839E-7258-088D-59F5477BB874}"/>
          </ac:spMkLst>
        </pc:spChg>
        <pc:spChg chg="add del mod">
          <ac:chgData name="Paul Jordan" userId="ed43b065-ed91-4d94-a70c-3ec7c0759f23" providerId="ADAL" clId="{2C32DC77-3316-5A44-99F4-3731869D0700}" dt="2023-01-18T23:14:11.087" v="5466" actId="478"/>
          <ac:spMkLst>
            <pc:docMk/>
            <pc:sldMk cId="1303585" sldId="259"/>
            <ac:spMk id="100" creationId="{BB762569-8D48-0763-27F1-FCEA89B8A9D9}"/>
          </ac:spMkLst>
        </pc:spChg>
        <pc:spChg chg="add del mod">
          <ac:chgData name="Paul Jordan" userId="ed43b065-ed91-4d94-a70c-3ec7c0759f23" providerId="ADAL" clId="{2C32DC77-3316-5A44-99F4-3731869D0700}" dt="2023-01-18T23:14:11.087" v="5466" actId="478"/>
          <ac:spMkLst>
            <pc:docMk/>
            <pc:sldMk cId="1303585" sldId="259"/>
            <ac:spMk id="101" creationId="{B8455250-FEC9-0D23-513B-2ACF220C98E4}"/>
          </ac:spMkLst>
        </pc:spChg>
        <pc:spChg chg="add del mod">
          <ac:chgData name="Paul Jordan" userId="ed43b065-ed91-4d94-a70c-3ec7c0759f23" providerId="ADAL" clId="{2C32DC77-3316-5A44-99F4-3731869D0700}" dt="2023-01-18T23:14:11.087" v="5466" actId="478"/>
          <ac:spMkLst>
            <pc:docMk/>
            <pc:sldMk cId="1303585" sldId="259"/>
            <ac:spMk id="102" creationId="{54DEAF36-258E-80BF-3DC5-6E1B4E01D240}"/>
          </ac:spMkLst>
        </pc:spChg>
        <pc:spChg chg="add del mod">
          <ac:chgData name="Paul Jordan" userId="ed43b065-ed91-4d94-a70c-3ec7c0759f23" providerId="ADAL" clId="{2C32DC77-3316-5A44-99F4-3731869D0700}" dt="2023-01-18T23:14:11.087" v="5466" actId="478"/>
          <ac:spMkLst>
            <pc:docMk/>
            <pc:sldMk cId="1303585" sldId="259"/>
            <ac:spMk id="103" creationId="{574E2D25-BA49-FA64-D789-E65655A6122F}"/>
          </ac:spMkLst>
        </pc:spChg>
        <pc:spChg chg="add del mod">
          <ac:chgData name="Paul Jordan" userId="ed43b065-ed91-4d94-a70c-3ec7c0759f23" providerId="ADAL" clId="{2C32DC77-3316-5A44-99F4-3731869D0700}" dt="2023-01-18T23:14:11.087" v="5466" actId="478"/>
          <ac:spMkLst>
            <pc:docMk/>
            <pc:sldMk cId="1303585" sldId="259"/>
            <ac:spMk id="104" creationId="{632AC98A-BF5A-40AC-0BA5-37D333192751}"/>
          </ac:spMkLst>
        </pc:spChg>
        <pc:spChg chg="add del mod">
          <ac:chgData name="Paul Jordan" userId="ed43b065-ed91-4d94-a70c-3ec7c0759f23" providerId="ADAL" clId="{2C32DC77-3316-5A44-99F4-3731869D0700}" dt="2023-01-18T23:14:11.087" v="5466" actId="478"/>
          <ac:spMkLst>
            <pc:docMk/>
            <pc:sldMk cId="1303585" sldId="259"/>
            <ac:spMk id="105" creationId="{EFB4ABF5-0FEF-18A1-553B-FE79B4E49CE4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07" creationId="{A990B668-3059-1733-F38F-FE95FF7AC8E9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08" creationId="{BEC863A7-E8BC-58FF-A582-BBBE3ACFD577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10" creationId="{AF2976B7-081D-1954-D949-95CF6A1BDF82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11" creationId="{FE3C8DF6-C52E-10A4-ED48-1B7D8A238228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13" creationId="{2151BA16-2813-09BF-B410-7353D22B49A3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14" creationId="{0BE89C8D-5F24-21A1-F132-74A96EAED5DA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16" creationId="{9E0D4DF7-CD1F-DF13-E56E-9BD8294C0E12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17" creationId="{E19C34C9-280F-9104-5844-3158AEA640B9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19" creationId="{1A7A52D9-0265-E03F-CB61-740406895E7C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20" creationId="{A2C09626-43AB-B0E8-2BA0-AC5C13EB9957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22" creationId="{9C28B81C-8DFE-C142-5BF7-51A2EF90530F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23" creationId="{7F62284A-5A5F-D105-19AA-F9E3D7E9686F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25" creationId="{0172B41B-D3BD-B844-6845-2B50D353FB0F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26" creationId="{67499998-E1A5-B4BE-CBD7-DA0AFE2569A1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28" creationId="{F324CB63-0D06-74BC-6D5A-92E9FC2D844A}"/>
          </ac:spMkLst>
        </pc:spChg>
        <pc:spChg chg="mod">
          <ac:chgData name="Paul Jordan" userId="ed43b065-ed91-4d94-a70c-3ec7c0759f23" providerId="ADAL" clId="{2C32DC77-3316-5A44-99F4-3731869D0700}" dt="2023-01-18T23:12:32.394" v="5457"/>
          <ac:spMkLst>
            <pc:docMk/>
            <pc:sldMk cId="1303585" sldId="259"/>
            <ac:spMk id="129" creationId="{6C7FD477-FFFD-0FD2-5573-CFB70188450C}"/>
          </ac:spMkLst>
        </pc:spChg>
        <pc:spChg chg="mod">
          <ac:chgData name="Paul Jordan" userId="ed43b065-ed91-4d94-a70c-3ec7c0759f23" providerId="ADAL" clId="{2C32DC77-3316-5A44-99F4-3731869D0700}" dt="2023-01-18T23:22:52.187" v="6175"/>
          <ac:spMkLst>
            <pc:docMk/>
            <pc:sldMk cId="1303585" sldId="259"/>
            <ac:spMk id="147" creationId="{D2F7687B-4C68-1CEB-CE24-8A4D5DA71758}"/>
          </ac:spMkLst>
        </pc:spChg>
        <pc:spChg chg="mod">
          <ac:chgData name="Paul Jordan" userId="ed43b065-ed91-4d94-a70c-3ec7c0759f23" providerId="ADAL" clId="{2C32DC77-3316-5A44-99F4-3731869D0700}" dt="2023-01-18T23:22:52.333" v="6179"/>
          <ac:spMkLst>
            <pc:docMk/>
            <pc:sldMk cId="1303585" sldId="259"/>
            <ac:spMk id="150" creationId="{D77A9903-6E43-9C6B-311C-BCC82701BC36}"/>
          </ac:spMkLst>
        </pc:spChg>
        <pc:spChg chg="mod">
          <ac:chgData name="Paul Jordan" userId="ed43b065-ed91-4d94-a70c-3ec7c0759f23" providerId="ADAL" clId="{2C32DC77-3316-5A44-99F4-3731869D0700}" dt="2023-01-18T23:22:52.441" v="6183"/>
          <ac:spMkLst>
            <pc:docMk/>
            <pc:sldMk cId="1303585" sldId="259"/>
            <ac:spMk id="153" creationId="{4D4B0C84-C1F3-9842-B560-04729DD23341}"/>
          </ac:spMkLst>
        </pc:spChg>
        <pc:spChg chg="mod">
          <ac:chgData name="Paul Jordan" userId="ed43b065-ed91-4d94-a70c-3ec7c0759f23" providerId="ADAL" clId="{2C32DC77-3316-5A44-99F4-3731869D0700}" dt="2023-01-18T23:22:52.715" v="6187"/>
          <ac:spMkLst>
            <pc:docMk/>
            <pc:sldMk cId="1303585" sldId="259"/>
            <ac:spMk id="156" creationId="{A2023230-BACC-DAB2-B202-A218E7BDCB76}"/>
          </ac:spMkLst>
        </pc:spChg>
        <pc:spChg chg="mod">
          <ac:chgData name="Paul Jordan" userId="ed43b065-ed91-4d94-a70c-3ec7c0759f23" providerId="ADAL" clId="{2C32DC77-3316-5A44-99F4-3731869D0700}" dt="2023-01-18T23:15:28.804" v="5518"/>
          <ac:spMkLst>
            <pc:docMk/>
            <pc:sldMk cId="1303585" sldId="259"/>
            <ac:spMk id="159" creationId="{11049B72-E0E5-E428-88CD-ABCFA25C30A9}"/>
          </ac:spMkLst>
        </pc:spChg>
        <pc:spChg chg="mod">
          <ac:chgData name="Paul Jordan" userId="ed43b065-ed91-4d94-a70c-3ec7c0759f23" providerId="ADAL" clId="{2C32DC77-3316-5A44-99F4-3731869D0700}" dt="2023-01-18T23:22:52.854" v="6191"/>
          <ac:spMkLst>
            <pc:docMk/>
            <pc:sldMk cId="1303585" sldId="259"/>
            <ac:spMk id="162" creationId="{C166CD16-127B-B9D4-86FE-189D3E1014FE}"/>
          </ac:spMkLst>
        </pc:spChg>
        <pc:spChg chg="mod">
          <ac:chgData name="Paul Jordan" userId="ed43b065-ed91-4d94-a70c-3ec7c0759f23" providerId="ADAL" clId="{2C32DC77-3316-5A44-99F4-3731869D0700}" dt="2023-01-18T23:22:53.021" v="6195"/>
          <ac:spMkLst>
            <pc:docMk/>
            <pc:sldMk cId="1303585" sldId="259"/>
            <ac:spMk id="165" creationId="{1EECDB6E-A709-5799-F1EA-527DE2D76A35}"/>
          </ac:spMkLst>
        </pc:spChg>
        <pc:spChg chg="mod">
          <ac:chgData name="Paul Jordan" userId="ed43b065-ed91-4d94-a70c-3ec7c0759f23" providerId="ADAL" clId="{2C32DC77-3316-5A44-99F4-3731869D0700}" dt="2023-01-18T23:22:53.175" v="6199"/>
          <ac:spMkLst>
            <pc:docMk/>
            <pc:sldMk cId="1303585" sldId="259"/>
            <ac:spMk id="168" creationId="{B0C91C2C-9CF1-5A72-96C2-A7D24804331D}"/>
          </ac:spMkLst>
        </pc:spChg>
        <pc:spChg chg="mod">
          <ac:chgData name="Paul Jordan" userId="ed43b065-ed91-4d94-a70c-3ec7c0759f23" providerId="ADAL" clId="{2C32DC77-3316-5A44-99F4-3731869D0700}" dt="2023-01-18T23:16:11.274" v="5784"/>
          <ac:spMkLst>
            <pc:docMk/>
            <pc:sldMk cId="1303585" sldId="259"/>
            <ac:spMk id="171" creationId="{25AF1357-A678-D4C9-C12D-D2A19DCA8BC6}"/>
          </ac:spMkLst>
        </pc:spChg>
        <pc:spChg chg="mod">
          <ac:chgData name="Paul Jordan" userId="ed43b065-ed91-4d94-a70c-3ec7c0759f23" providerId="ADAL" clId="{2C32DC77-3316-5A44-99F4-3731869D0700}" dt="2023-01-18T23:22:53.367" v="6203"/>
          <ac:spMkLst>
            <pc:docMk/>
            <pc:sldMk cId="1303585" sldId="259"/>
            <ac:spMk id="174" creationId="{0651CE8B-86FF-D733-EE1A-DD3E801095D9}"/>
          </ac:spMkLst>
        </pc:spChg>
        <pc:spChg chg="mod">
          <ac:chgData name="Paul Jordan" userId="ed43b065-ed91-4d94-a70c-3ec7c0759f23" providerId="ADAL" clId="{2C32DC77-3316-5A44-99F4-3731869D0700}" dt="2023-01-18T23:22:53.476" v="6207"/>
          <ac:spMkLst>
            <pc:docMk/>
            <pc:sldMk cId="1303585" sldId="259"/>
            <ac:spMk id="177" creationId="{A83E6813-C41F-BA28-58F2-1A2C90A0C8B4}"/>
          </ac:spMkLst>
        </pc:spChg>
        <pc:spChg chg="mod">
          <ac:chgData name="Paul Jordan" userId="ed43b065-ed91-4d94-a70c-3ec7c0759f23" providerId="ADAL" clId="{2C32DC77-3316-5A44-99F4-3731869D0700}" dt="2023-01-18T23:22:53.634" v="6211"/>
          <ac:spMkLst>
            <pc:docMk/>
            <pc:sldMk cId="1303585" sldId="259"/>
            <ac:spMk id="180" creationId="{D5056796-014F-7556-20BF-FBA4E4E5509F}"/>
          </ac:spMkLst>
        </pc:spChg>
        <pc:spChg chg="mod">
          <ac:chgData name="Paul Jordan" userId="ed43b065-ed91-4d94-a70c-3ec7c0759f23" providerId="ADAL" clId="{2C32DC77-3316-5A44-99F4-3731869D0700}" dt="2023-01-18T23:22:53.787" v="6215"/>
          <ac:spMkLst>
            <pc:docMk/>
            <pc:sldMk cId="1303585" sldId="259"/>
            <ac:spMk id="183" creationId="{8372320D-1E43-0E74-F4AE-3269F207DE64}"/>
          </ac:spMkLst>
        </pc:spChg>
        <pc:spChg chg="mod">
          <ac:chgData name="Paul Jordan" userId="ed43b065-ed91-4d94-a70c-3ec7c0759f23" providerId="ADAL" clId="{2C32DC77-3316-5A44-99F4-3731869D0700}" dt="2023-01-18T23:22:53.940" v="6219"/>
          <ac:spMkLst>
            <pc:docMk/>
            <pc:sldMk cId="1303585" sldId="259"/>
            <ac:spMk id="186" creationId="{915A7749-0BD4-7BA3-1A6A-31EE71793E75}"/>
          </ac:spMkLst>
        </pc:spChg>
        <pc:spChg chg="mod">
          <ac:chgData name="Paul Jordan" userId="ed43b065-ed91-4d94-a70c-3ec7c0759f23" providerId="ADAL" clId="{2C32DC77-3316-5A44-99F4-3731869D0700}" dt="2023-01-18T23:22:54.109" v="6223"/>
          <ac:spMkLst>
            <pc:docMk/>
            <pc:sldMk cId="1303585" sldId="259"/>
            <ac:spMk id="189" creationId="{8E93BF3C-7DD0-493C-C5CE-5CEEBE63B2F4}"/>
          </ac:spMkLst>
        </pc:spChg>
        <pc:spChg chg="mod">
          <ac:chgData name="Paul Jordan" userId="ed43b065-ed91-4d94-a70c-3ec7c0759f23" providerId="ADAL" clId="{2C32DC77-3316-5A44-99F4-3731869D0700}" dt="2023-01-18T23:22:54.239" v="6227"/>
          <ac:spMkLst>
            <pc:docMk/>
            <pc:sldMk cId="1303585" sldId="259"/>
            <ac:spMk id="1024" creationId="{144E3939-E90B-716B-04E2-DBA4496D246E}"/>
          </ac:spMkLst>
        </pc:spChg>
        <pc:spChg chg="mod">
          <ac:chgData name="Paul Jordan" userId="ed43b065-ed91-4d94-a70c-3ec7c0759f23" providerId="ADAL" clId="{2C32DC77-3316-5A44-99F4-3731869D0700}" dt="2023-01-18T23:22:54.328" v="6231"/>
          <ac:spMkLst>
            <pc:docMk/>
            <pc:sldMk cId="1303585" sldId="259"/>
            <ac:spMk id="1029" creationId="{44AD4947-3021-AE15-6078-EB4896277715}"/>
          </ac:spMkLst>
        </pc:spChg>
        <pc:spChg chg="mod">
          <ac:chgData name="Paul Jordan" userId="ed43b065-ed91-4d94-a70c-3ec7c0759f23" providerId="ADAL" clId="{2C32DC77-3316-5A44-99F4-3731869D0700}" dt="2023-01-18T23:22:54.475" v="6235"/>
          <ac:spMkLst>
            <pc:docMk/>
            <pc:sldMk cId="1303585" sldId="259"/>
            <ac:spMk id="1032" creationId="{1D3A88D6-BC7D-E09C-C252-28ECE14E176A}"/>
          </ac:spMkLst>
        </pc:spChg>
        <pc:spChg chg="mod">
          <ac:chgData name="Paul Jordan" userId="ed43b065-ed91-4d94-a70c-3ec7c0759f23" providerId="ADAL" clId="{2C32DC77-3316-5A44-99F4-3731869D0700}" dt="2023-01-18T23:22:54.606" v="6239"/>
          <ac:spMkLst>
            <pc:docMk/>
            <pc:sldMk cId="1303585" sldId="259"/>
            <ac:spMk id="1035" creationId="{95EC8D28-6453-61A2-F48F-5E7951F98623}"/>
          </ac:spMkLst>
        </pc:spChg>
        <pc:spChg chg="mod">
          <ac:chgData name="Paul Jordan" userId="ed43b065-ed91-4d94-a70c-3ec7c0759f23" providerId="ADAL" clId="{2C32DC77-3316-5A44-99F4-3731869D0700}" dt="2023-01-20T01:01:14.707" v="10163"/>
          <ac:spMkLst>
            <pc:docMk/>
            <pc:sldMk cId="1303585" sldId="259"/>
            <ac:spMk id="1038" creationId="{AFA448F4-DFBB-B5E6-99B3-0A1BEA0AC2B9}"/>
          </ac:spMkLst>
        </pc:spChg>
        <pc:spChg chg="add mod">
          <ac:chgData name="Paul Jordan" userId="ed43b065-ed91-4d94-a70c-3ec7c0759f23" providerId="ADAL" clId="{2C32DC77-3316-5A44-99F4-3731869D0700}" dt="2023-01-18T23:25:47.842" v="6271"/>
          <ac:spMkLst>
            <pc:docMk/>
            <pc:sldMk cId="1303585" sldId="259"/>
            <ac:spMk id="1040" creationId="{D81EA4D3-B488-DEDE-6E7A-D82EF769DA6B}"/>
          </ac:spMkLst>
        </pc:spChg>
        <pc:spChg chg="mod">
          <ac:chgData name="Paul Jordan" userId="ed43b065-ed91-4d94-a70c-3ec7c0759f23" providerId="ADAL" clId="{2C32DC77-3316-5A44-99F4-3731869D0700}" dt="2023-01-18T23:25:47.869" v="6275"/>
          <ac:spMkLst>
            <pc:docMk/>
            <pc:sldMk cId="1303585" sldId="259"/>
            <ac:spMk id="1042" creationId="{40D62B57-8A7C-04E8-175F-17681E05B571}"/>
          </ac:spMkLst>
        </pc:spChg>
        <pc:spChg chg="mod">
          <ac:chgData name="Paul Jordan" userId="ed43b065-ed91-4d94-a70c-3ec7c0759f23" providerId="ADAL" clId="{2C32DC77-3316-5A44-99F4-3731869D0700}" dt="2023-01-18T23:25:47.869" v="6275"/>
          <ac:spMkLst>
            <pc:docMk/>
            <pc:sldMk cId="1303585" sldId="259"/>
            <ac:spMk id="1043" creationId="{95A1C9C0-B562-3CC7-2D6A-D3E14B9929A6}"/>
          </ac:spMkLst>
        </pc:spChg>
        <pc:spChg chg="add mod">
          <ac:chgData name="Paul Jordan" userId="ed43b065-ed91-4d94-a70c-3ec7c0759f23" providerId="ADAL" clId="{2C32DC77-3316-5A44-99F4-3731869D0700}" dt="2023-01-18T23:25:47.900" v="6279"/>
          <ac:spMkLst>
            <pc:docMk/>
            <pc:sldMk cId="1303585" sldId="259"/>
            <ac:spMk id="1044" creationId="{B8D0E7F6-F664-95DD-4C54-5C7E49492A2C}"/>
          </ac:spMkLst>
        </pc:spChg>
        <pc:spChg chg="mod">
          <ac:chgData name="Paul Jordan" userId="ed43b065-ed91-4d94-a70c-3ec7c0759f23" providerId="ADAL" clId="{2C32DC77-3316-5A44-99F4-3731869D0700}" dt="2023-01-18T23:25:47.939" v="6283"/>
          <ac:spMkLst>
            <pc:docMk/>
            <pc:sldMk cId="1303585" sldId="259"/>
            <ac:spMk id="1046" creationId="{F8FC4185-E93D-144F-9089-55A699E3356D}"/>
          </ac:spMkLst>
        </pc:spChg>
        <pc:spChg chg="mod">
          <ac:chgData name="Paul Jordan" userId="ed43b065-ed91-4d94-a70c-3ec7c0759f23" providerId="ADAL" clId="{2C32DC77-3316-5A44-99F4-3731869D0700}" dt="2023-01-18T23:25:47.939" v="6283"/>
          <ac:spMkLst>
            <pc:docMk/>
            <pc:sldMk cId="1303585" sldId="259"/>
            <ac:spMk id="1047" creationId="{26ECB204-2392-CB61-CE3C-EA0C41FE95C2}"/>
          </ac:spMkLst>
        </pc:spChg>
        <pc:spChg chg="mod">
          <ac:chgData name="Paul Jordan" userId="ed43b065-ed91-4d94-a70c-3ec7c0759f23" providerId="ADAL" clId="{2C32DC77-3316-5A44-99F4-3731869D0700}" dt="2023-01-18T23:25:47.981" v="6287"/>
          <ac:spMkLst>
            <pc:docMk/>
            <pc:sldMk cId="1303585" sldId="259"/>
            <ac:spMk id="1049" creationId="{339FF7D4-1840-832F-57F8-0568B863B3E3}"/>
          </ac:spMkLst>
        </pc:spChg>
        <pc:spChg chg="mod">
          <ac:chgData name="Paul Jordan" userId="ed43b065-ed91-4d94-a70c-3ec7c0759f23" providerId="ADAL" clId="{2C32DC77-3316-5A44-99F4-3731869D0700}" dt="2023-01-18T23:25:47.981" v="6287"/>
          <ac:spMkLst>
            <pc:docMk/>
            <pc:sldMk cId="1303585" sldId="259"/>
            <ac:spMk id="1050" creationId="{0846821C-46C5-2483-65AA-1A3A350706B1}"/>
          </ac:spMkLst>
        </pc:spChg>
        <pc:spChg chg="mod">
          <ac:chgData name="Paul Jordan" userId="ed43b065-ed91-4d94-a70c-3ec7c0759f23" providerId="ADAL" clId="{2C32DC77-3316-5A44-99F4-3731869D0700}" dt="2023-01-18T23:25:48.039" v="6291"/>
          <ac:spMkLst>
            <pc:docMk/>
            <pc:sldMk cId="1303585" sldId="259"/>
            <ac:spMk id="1052" creationId="{AD4F1C04-A978-9F3A-BAB5-07A17ED4DA2C}"/>
          </ac:spMkLst>
        </pc:spChg>
        <pc:spChg chg="mod">
          <ac:chgData name="Paul Jordan" userId="ed43b065-ed91-4d94-a70c-3ec7c0759f23" providerId="ADAL" clId="{2C32DC77-3316-5A44-99F4-3731869D0700}" dt="2023-01-18T23:25:48.039" v="6291"/>
          <ac:spMkLst>
            <pc:docMk/>
            <pc:sldMk cId="1303585" sldId="259"/>
            <ac:spMk id="1053" creationId="{4B2EF65D-111F-EEE0-68DC-FFED1EE21C2D}"/>
          </ac:spMkLst>
        </pc:spChg>
        <pc:spChg chg="mod">
          <ac:chgData name="Paul Jordan" userId="ed43b065-ed91-4d94-a70c-3ec7c0759f23" providerId="ADAL" clId="{2C32DC77-3316-5A44-99F4-3731869D0700}" dt="2023-01-18T23:25:48.080" v="6295"/>
          <ac:spMkLst>
            <pc:docMk/>
            <pc:sldMk cId="1303585" sldId="259"/>
            <ac:spMk id="1055" creationId="{C07AD5FD-05EF-81B1-188A-8998672D1CB8}"/>
          </ac:spMkLst>
        </pc:spChg>
        <pc:spChg chg="mod">
          <ac:chgData name="Paul Jordan" userId="ed43b065-ed91-4d94-a70c-3ec7c0759f23" providerId="ADAL" clId="{2C32DC77-3316-5A44-99F4-3731869D0700}" dt="2023-01-18T23:25:48.080" v="6295"/>
          <ac:spMkLst>
            <pc:docMk/>
            <pc:sldMk cId="1303585" sldId="259"/>
            <ac:spMk id="1056" creationId="{52C66D64-82EE-B9EE-DCB3-D1EFCFD83AE2}"/>
          </ac:spMkLst>
        </pc:spChg>
        <pc:spChg chg="add mod">
          <ac:chgData name="Paul Jordan" userId="ed43b065-ed91-4d94-a70c-3ec7c0759f23" providerId="ADAL" clId="{2C32DC77-3316-5A44-99F4-3731869D0700}" dt="2023-01-18T23:25:48.138" v="6299"/>
          <ac:spMkLst>
            <pc:docMk/>
            <pc:sldMk cId="1303585" sldId="259"/>
            <ac:spMk id="1057" creationId="{B70B5FE8-3031-C4A0-8BCB-485B5D3F4F72}"/>
          </ac:spMkLst>
        </pc:spChg>
        <pc:spChg chg="add mod">
          <ac:chgData name="Paul Jordan" userId="ed43b065-ed91-4d94-a70c-3ec7c0759f23" providerId="ADAL" clId="{2C32DC77-3316-5A44-99F4-3731869D0700}" dt="2023-01-18T23:25:48.185" v="6303"/>
          <ac:spMkLst>
            <pc:docMk/>
            <pc:sldMk cId="1303585" sldId="259"/>
            <ac:spMk id="1058" creationId="{A905A462-C5B7-9BB3-4497-1F4DD8B458C3}"/>
          </ac:spMkLst>
        </pc:spChg>
        <pc:spChg chg="add mod">
          <ac:chgData name="Paul Jordan" userId="ed43b065-ed91-4d94-a70c-3ec7c0759f23" providerId="ADAL" clId="{2C32DC77-3316-5A44-99F4-3731869D0700}" dt="2023-01-18T23:25:48.237" v="6307"/>
          <ac:spMkLst>
            <pc:docMk/>
            <pc:sldMk cId="1303585" sldId="259"/>
            <ac:spMk id="1059" creationId="{D11262DE-DB0B-D75F-2CA9-62C298662EF3}"/>
          </ac:spMkLst>
        </pc:spChg>
        <pc:spChg chg="add mod">
          <ac:chgData name="Paul Jordan" userId="ed43b065-ed91-4d94-a70c-3ec7c0759f23" providerId="ADAL" clId="{2C32DC77-3316-5A44-99F4-3731869D0700}" dt="2023-01-18T23:25:48.311" v="6311"/>
          <ac:spMkLst>
            <pc:docMk/>
            <pc:sldMk cId="1303585" sldId="259"/>
            <ac:spMk id="1060" creationId="{64336288-5E9F-83F8-7DFF-5A9639B60ED9}"/>
          </ac:spMkLst>
        </pc:spChg>
        <pc:spChg chg="add mod">
          <ac:chgData name="Paul Jordan" userId="ed43b065-ed91-4d94-a70c-3ec7c0759f23" providerId="ADAL" clId="{2C32DC77-3316-5A44-99F4-3731869D0700}" dt="2023-01-18T23:25:48.379" v="6315"/>
          <ac:spMkLst>
            <pc:docMk/>
            <pc:sldMk cId="1303585" sldId="259"/>
            <ac:spMk id="1061" creationId="{7AEAFDEA-67D8-7F54-2408-5CC94B20A20F}"/>
          </ac:spMkLst>
        </pc:spChg>
        <pc:spChg chg="add mod">
          <ac:chgData name="Paul Jordan" userId="ed43b065-ed91-4d94-a70c-3ec7c0759f23" providerId="ADAL" clId="{2C32DC77-3316-5A44-99F4-3731869D0700}" dt="2023-01-18T23:25:48.441" v="6319"/>
          <ac:spMkLst>
            <pc:docMk/>
            <pc:sldMk cId="1303585" sldId="259"/>
            <ac:spMk id="1062" creationId="{5555AC9B-5F03-BC85-A8E8-A1B563C0124A}"/>
          </ac:spMkLst>
        </pc:spChg>
        <pc:spChg chg="add mod">
          <ac:chgData name="Paul Jordan" userId="ed43b065-ed91-4d94-a70c-3ec7c0759f23" providerId="ADAL" clId="{2C32DC77-3316-5A44-99F4-3731869D0700}" dt="2023-01-18T23:25:48.479" v="6323"/>
          <ac:spMkLst>
            <pc:docMk/>
            <pc:sldMk cId="1303585" sldId="259"/>
            <ac:spMk id="1063" creationId="{5000AF14-4C16-BF3E-8C8C-D27F231FAC1C}"/>
          </ac:spMkLst>
        </pc:spChg>
        <pc:spChg chg="add mod">
          <ac:chgData name="Paul Jordan" userId="ed43b065-ed91-4d94-a70c-3ec7c0759f23" providerId="ADAL" clId="{2C32DC77-3316-5A44-99F4-3731869D0700}" dt="2023-01-18T23:25:48.543" v="6327"/>
          <ac:spMkLst>
            <pc:docMk/>
            <pc:sldMk cId="1303585" sldId="259"/>
            <ac:spMk id="1064" creationId="{96C10A2D-656C-476A-5BC8-932DDD807535}"/>
          </ac:spMkLst>
        </pc:spChg>
        <pc:spChg chg="add mod">
          <ac:chgData name="Paul Jordan" userId="ed43b065-ed91-4d94-a70c-3ec7c0759f23" providerId="ADAL" clId="{2C32DC77-3316-5A44-99F4-3731869D0700}" dt="2023-01-18T23:25:48.609" v="6331"/>
          <ac:spMkLst>
            <pc:docMk/>
            <pc:sldMk cId="1303585" sldId="259"/>
            <ac:spMk id="1065" creationId="{14C5D5F2-1D58-5329-87C7-5BCEE1E0105F}"/>
          </ac:spMkLst>
        </pc:spChg>
        <pc:spChg chg="add mod">
          <ac:chgData name="Paul Jordan" userId="ed43b065-ed91-4d94-a70c-3ec7c0759f23" providerId="ADAL" clId="{2C32DC77-3316-5A44-99F4-3731869D0700}" dt="2023-01-18T23:25:48.642" v="6335"/>
          <ac:spMkLst>
            <pc:docMk/>
            <pc:sldMk cId="1303585" sldId="259"/>
            <ac:spMk id="1066" creationId="{652FC5F5-8028-9BC6-DEC3-EAACB263D446}"/>
          </ac:spMkLst>
        </pc:spChg>
        <pc:spChg chg="add mod">
          <ac:chgData name="Paul Jordan" userId="ed43b065-ed91-4d94-a70c-3ec7c0759f23" providerId="ADAL" clId="{2C32DC77-3316-5A44-99F4-3731869D0700}" dt="2023-01-18T23:25:48.712" v="6339"/>
          <ac:spMkLst>
            <pc:docMk/>
            <pc:sldMk cId="1303585" sldId="259"/>
            <ac:spMk id="1067" creationId="{C07FEF6B-1E72-3991-678B-B6D4F4924213}"/>
          </ac:spMkLst>
        </pc:spChg>
        <pc:spChg chg="add mod">
          <ac:chgData name="Paul Jordan" userId="ed43b065-ed91-4d94-a70c-3ec7c0759f23" providerId="ADAL" clId="{2C32DC77-3316-5A44-99F4-3731869D0700}" dt="2023-01-18T23:25:48.761" v="6343"/>
          <ac:spMkLst>
            <pc:docMk/>
            <pc:sldMk cId="1303585" sldId="259"/>
            <ac:spMk id="1068" creationId="{7C17C131-0CD5-3122-F779-BE6458235E3E}"/>
          </ac:spMkLst>
        </pc:spChg>
        <pc:spChg chg="add mod">
          <ac:chgData name="Paul Jordan" userId="ed43b065-ed91-4d94-a70c-3ec7c0759f23" providerId="ADAL" clId="{2C32DC77-3316-5A44-99F4-3731869D0700}" dt="2023-01-18T23:25:48.813" v="6347"/>
          <ac:spMkLst>
            <pc:docMk/>
            <pc:sldMk cId="1303585" sldId="259"/>
            <ac:spMk id="1069" creationId="{FC33A614-9ABC-CB20-799A-81C4FD84A1EC}"/>
          </ac:spMkLst>
        </pc:spChg>
        <pc:spChg chg="mod">
          <ac:chgData name="Paul Jordan" userId="ed43b065-ed91-4d94-a70c-3ec7c0759f23" providerId="ADAL" clId="{2C32DC77-3316-5A44-99F4-3731869D0700}" dt="2023-01-18T23:25:48.898" v="6351"/>
          <ac:spMkLst>
            <pc:docMk/>
            <pc:sldMk cId="1303585" sldId="259"/>
            <ac:spMk id="1071" creationId="{48AAFE26-DC3D-538D-DE98-BFB4EE5B70DB}"/>
          </ac:spMkLst>
        </pc:spChg>
        <pc:spChg chg="mod">
          <ac:chgData name="Paul Jordan" userId="ed43b065-ed91-4d94-a70c-3ec7c0759f23" providerId="ADAL" clId="{2C32DC77-3316-5A44-99F4-3731869D0700}" dt="2023-01-18T23:25:48.898" v="6351"/>
          <ac:spMkLst>
            <pc:docMk/>
            <pc:sldMk cId="1303585" sldId="259"/>
            <ac:spMk id="1072" creationId="{8EDA09AD-A7D4-FFE6-5AD5-69BCAC191074}"/>
          </ac:spMkLst>
        </pc:spChg>
        <pc:spChg chg="mod">
          <ac:chgData name="Paul Jordan" userId="ed43b065-ed91-4d94-a70c-3ec7c0759f23" providerId="ADAL" clId="{2C32DC77-3316-5A44-99F4-3731869D0700}" dt="2023-01-18T23:25:48.977" v="6355"/>
          <ac:spMkLst>
            <pc:docMk/>
            <pc:sldMk cId="1303585" sldId="259"/>
            <ac:spMk id="1074" creationId="{9C7B80A3-DF4A-713C-A581-AC2649764573}"/>
          </ac:spMkLst>
        </pc:spChg>
        <pc:spChg chg="mod">
          <ac:chgData name="Paul Jordan" userId="ed43b065-ed91-4d94-a70c-3ec7c0759f23" providerId="ADAL" clId="{2C32DC77-3316-5A44-99F4-3731869D0700}" dt="2023-01-18T23:25:48.977" v="6355"/>
          <ac:spMkLst>
            <pc:docMk/>
            <pc:sldMk cId="1303585" sldId="259"/>
            <ac:spMk id="1075" creationId="{65614416-031C-DB95-3598-99407851366E}"/>
          </ac:spMkLst>
        </pc:spChg>
        <pc:spChg chg="add mod">
          <ac:chgData name="Paul Jordan" userId="ed43b065-ed91-4d94-a70c-3ec7c0759f23" providerId="ADAL" clId="{2C32DC77-3316-5A44-99F4-3731869D0700}" dt="2023-01-18T23:25:49.018" v="6359"/>
          <ac:spMkLst>
            <pc:docMk/>
            <pc:sldMk cId="1303585" sldId="259"/>
            <ac:spMk id="1076" creationId="{CA4A6617-C4F2-828E-41F5-E849B47EE3E4}"/>
          </ac:spMkLst>
        </pc:spChg>
        <pc:spChg chg="add mod">
          <ac:chgData name="Paul Jordan" userId="ed43b065-ed91-4d94-a70c-3ec7c0759f23" providerId="ADAL" clId="{2C32DC77-3316-5A44-99F4-3731869D0700}" dt="2023-01-18T23:25:49.088" v="6363"/>
          <ac:spMkLst>
            <pc:docMk/>
            <pc:sldMk cId="1303585" sldId="259"/>
            <ac:spMk id="1077" creationId="{6D39317B-FA5F-4DE4-2105-E6B76267430D}"/>
          </ac:spMkLst>
        </pc:spChg>
        <pc:spChg chg="mod">
          <ac:chgData name="Paul Jordan" userId="ed43b065-ed91-4d94-a70c-3ec7c0759f23" providerId="ADAL" clId="{2C32DC77-3316-5A44-99F4-3731869D0700}" dt="2023-01-18T23:25:49.144" v="6367"/>
          <ac:spMkLst>
            <pc:docMk/>
            <pc:sldMk cId="1303585" sldId="259"/>
            <ac:spMk id="1079" creationId="{EA1EAD67-BF40-D8E5-099E-7C4125D26BDD}"/>
          </ac:spMkLst>
        </pc:spChg>
        <pc:spChg chg="mod">
          <ac:chgData name="Paul Jordan" userId="ed43b065-ed91-4d94-a70c-3ec7c0759f23" providerId="ADAL" clId="{2C32DC77-3316-5A44-99F4-3731869D0700}" dt="2023-01-18T23:25:49.144" v="6367"/>
          <ac:spMkLst>
            <pc:docMk/>
            <pc:sldMk cId="1303585" sldId="259"/>
            <ac:spMk id="1080" creationId="{812D122E-B6CA-FCF9-AEF7-503EEB3B3A95}"/>
          </ac:spMkLst>
        </pc:spChg>
        <pc:spChg chg="mod">
          <ac:chgData name="Paul Jordan" userId="ed43b065-ed91-4d94-a70c-3ec7c0759f23" providerId="ADAL" clId="{2C32DC77-3316-5A44-99F4-3731869D0700}" dt="2023-01-18T23:25:49.201" v="6371"/>
          <ac:spMkLst>
            <pc:docMk/>
            <pc:sldMk cId="1303585" sldId="259"/>
            <ac:spMk id="1082" creationId="{A42A00A1-3E14-9201-41D0-92DAD0234C7B}"/>
          </ac:spMkLst>
        </pc:spChg>
        <pc:spChg chg="mod">
          <ac:chgData name="Paul Jordan" userId="ed43b065-ed91-4d94-a70c-3ec7c0759f23" providerId="ADAL" clId="{2C32DC77-3316-5A44-99F4-3731869D0700}" dt="2023-01-18T23:25:49.201" v="6371"/>
          <ac:spMkLst>
            <pc:docMk/>
            <pc:sldMk cId="1303585" sldId="259"/>
            <ac:spMk id="1083" creationId="{2ABFDA4E-3B25-5041-AC10-1AFEE0BD58BC}"/>
          </ac:spMkLst>
        </pc:spChg>
        <pc:spChg chg="mod">
          <ac:chgData name="Paul Jordan" userId="ed43b065-ed91-4d94-a70c-3ec7c0759f23" providerId="ADAL" clId="{2C32DC77-3316-5A44-99F4-3731869D0700}" dt="2023-01-18T23:25:49.287" v="6375"/>
          <ac:spMkLst>
            <pc:docMk/>
            <pc:sldMk cId="1303585" sldId="259"/>
            <ac:spMk id="1085" creationId="{5DD9ACA4-6A50-6B8B-57D6-83826C7ECD0D}"/>
          </ac:spMkLst>
        </pc:spChg>
        <pc:spChg chg="mod">
          <ac:chgData name="Paul Jordan" userId="ed43b065-ed91-4d94-a70c-3ec7c0759f23" providerId="ADAL" clId="{2C32DC77-3316-5A44-99F4-3731869D0700}" dt="2023-01-18T23:25:49.287" v="6375"/>
          <ac:spMkLst>
            <pc:docMk/>
            <pc:sldMk cId="1303585" sldId="259"/>
            <ac:spMk id="1086" creationId="{491DABAB-B78D-22E1-BFEC-C32AB40A1448}"/>
          </ac:spMkLst>
        </pc:spChg>
        <pc:spChg chg="mod">
          <ac:chgData name="Paul Jordan" userId="ed43b065-ed91-4d94-a70c-3ec7c0759f23" providerId="ADAL" clId="{2C32DC77-3316-5A44-99F4-3731869D0700}" dt="2023-01-18T23:25:49.349" v="6379"/>
          <ac:spMkLst>
            <pc:docMk/>
            <pc:sldMk cId="1303585" sldId="259"/>
            <ac:spMk id="1088" creationId="{C8CA738D-993D-6807-17DF-6CBF4CB8F188}"/>
          </ac:spMkLst>
        </pc:spChg>
        <pc:spChg chg="mod">
          <ac:chgData name="Paul Jordan" userId="ed43b065-ed91-4d94-a70c-3ec7c0759f23" providerId="ADAL" clId="{2C32DC77-3316-5A44-99F4-3731869D0700}" dt="2023-01-18T23:25:49.349" v="6379"/>
          <ac:spMkLst>
            <pc:docMk/>
            <pc:sldMk cId="1303585" sldId="259"/>
            <ac:spMk id="1089" creationId="{AFBEAC34-C21E-7749-A597-0488738E0EB1}"/>
          </ac:spMkLst>
        </pc:spChg>
        <pc:spChg chg="mod">
          <ac:chgData name="Paul Jordan" userId="ed43b065-ed91-4d94-a70c-3ec7c0759f23" providerId="ADAL" clId="{2C32DC77-3316-5A44-99F4-3731869D0700}" dt="2023-01-18T23:25:49.431" v="6383"/>
          <ac:spMkLst>
            <pc:docMk/>
            <pc:sldMk cId="1303585" sldId="259"/>
            <ac:spMk id="1091" creationId="{616BE3B9-14E0-0725-9CC7-64F269C4B2B4}"/>
          </ac:spMkLst>
        </pc:spChg>
        <pc:spChg chg="mod">
          <ac:chgData name="Paul Jordan" userId="ed43b065-ed91-4d94-a70c-3ec7c0759f23" providerId="ADAL" clId="{2C32DC77-3316-5A44-99F4-3731869D0700}" dt="2023-01-18T23:25:49.431" v="6383"/>
          <ac:spMkLst>
            <pc:docMk/>
            <pc:sldMk cId="1303585" sldId="259"/>
            <ac:spMk id="1092" creationId="{723734CF-41E1-845A-2BB8-939A0896EB34}"/>
          </ac:spMkLst>
        </pc:spChg>
        <pc:spChg chg="mod">
          <ac:chgData name="Paul Jordan" userId="ed43b065-ed91-4d94-a70c-3ec7c0759f23" providerId="ADAL" clId="{2C32DC77-3316-5A44-99F4-3731869D0700}" dt="2023-01-18T23:25:49.464" v="6387"/>
          <ac:spMkLst>
            <pc:docMk/>
            <pc:sldMk cId="1303585" sldId="259"/>
            <ac:spMk id="1094" creationId="{08389DF2-494E-F93E-2D31-C9B28E312F48}"/>
          </ac:spMkLst>
        </pc:spChg>
        <pc:spChg chg="mod">
          <ac:chgData name="Paul Jordan" userId="ed43b065-ed91-4d94-a70c-3ec7c0759f23" providerId="ADAL" clId="{2C32DC77-3316-5A44-99F4-3731869D0700}" dt="2023-01-18T23:25:49.464" v="6387"/>
          <ac:spMkLst>
            <pc:docMk/>
            <pc:sldMk cId="1303585" sldId="259"/>
            <ac:spMk id="1095" creationId="{3BC1BE55-EFA4-930F-116D-509EE00FC208}"/>
          </ac:spMkLst>
        </pc:spChg>
        <pc:spChg chg="mod">
          <ac:chgData name="Paul Jordan" userId="ed43b065-ed91-4d94-a70c-3ec7c0759f23" providerId="ADAL" clId="{2C32DC77-3316-5A44-99F4-3731869D0700}" dt="2023-01-18T23:25:49.548" v="6391"/>
          <ac:spMkLst>
            <pc:docMk/>
            <pc:sldMk cId="1303585" sldId="259"/>
            <ac:spMk id="1097" creationId="{595166E9-D0CE-2935-995D-2157731BA7B6}"/>
          </ac:spMkLst>
        </pc:spChg>
        <pc:spChg chg="mod">
          <ac:chgData name="Paul Jordan" userId="ed43b065-ed91-4d94-a70c-3ec7c0759f23" providerId="ADAL" clId="{2C32DC77-3316-5A44-99F4-3731869D0700}" dt="2023-01-18T23:25:49.548" v="6391"/>
          <ac:spMkLst>
            <pc:docMk/>
            <pc:sldMk cId="1303585" sldId="259"/>
            <ac:spMk id="1098" creationId="{B281C8FB-40A4-07E2-24F9-FA6D97BA3D07}"/>
          </ac:spMkLst>
        </pc:spChg>
        <pc:spChg chg="mod">
          <ac:chgData name="Paul Jordan" userId="ed43b065-ed91-4d94-a70c-3ec7c0759f23" providerId="ADAL" clId="{2C32DC77-3316-5A44-99F4-3731869D0700}" dt="2023-01-18T23:25:49.632" v="6395"/>
          <ac:spMkLst>
            <pc:docMk/>
            <pc:sldMk cId="1303585" sldId="259"/>
            <ac:spMk id="1100" creationId="{C3C2C1C3-4C1F-5485-C9B3-B2C695C8E6F1}"/>
          </ac:spMkLst>
        </pc:spChg>
        <pc:spChg chg="mod">
          <ac:chgData name="Paul Jordan" userId="ed43b065-ed91-4d94-a70c-3ec7c0759f23" providerId="ADAL" clId="{2C32DC77-3316-5A44-99F4-3731869D0700}" dt="2023-01-18T23:25:49.632" v="6395"/>
          <ac:spMkLst>
            <pc:docMk/>
            <pc:sldMk cId="1303585" sldId="259"/>
            <ac:spMk id="1101" creationId="{AC5476AE-CFCA-1BA6-71E6-C1FCDE7F189B}"/>
          </ac:spMkLst>
        </pc:spChg>
        <pc:spChg chg="mod">
          <ac:chgData name="Paul Jordan" userId="ed43b065-ed91-4d94-a70c-3ec7c0759f23" providerId="ADAL" clId="{2C32DC77-3316-5A44-99F4-3731869D0700}" dt="2023-01-18T23:25:49.777" v="6399"/>
          <ac:spMkLst>
            <pc:docMk/>
            <pc:sldMk cId="1303585" sldId="259"/>
            <ac:spMk id="1103" creationId="{E5252AB3-2980-6F4B-E681-E6CEDBDED5EF}"/>
          </ac:spMkLst>
        </pc:spChg>
        <pc:spChg chg="mod">
          <ac:chgData name="Paul Jordan" userId="ed43b065-ed91-4d94-a70c-3ec7c0759f23" providerId="ADAL" clId="{2C32DC77-3316-5A44-99F4-3731869D0700}" dt="2023-01-18T23:25:49.777" v="6399"/>
          <ac:spMkLst>
            <pc:docMk/>
            <pc:sldMk cId="1303585" sldId="259"/>
            <ac:spMk id="1104" creationId="{EB324254-6158-4426-E890-36D5CA1E7DCD}"/>
          </ac:spMkLst>
        </pc:spChg>
        <pc:spChg chg="mod">
          <ac:chgData name="Paul Jordan" userId="ed43b065-ed91-4d94-a70c-3ec7c0759f23" providerId="ADAL" clId="{2C32DC77-3316-5A44-99F4-3731869D0700}" dt="2023-01-18T23:25:49.842" v="6403"/>
          <ac:spMkLst>
            <pc:docMk/>
            <pc:sldMk cId="1303585" sldId="259"/>
            <ac:spMk id="1106" creationId="{482BC1E5-90E9-77AB-2CED-A8724F89A5FA}"/>
          </ac:spMkLst>
        </pc:spChg>
        <pc:spChg chg="mod">
          <ac:chgData name="Paul Jordan" userId="ed43b065-ed91-4d94-a70c-3ec7c0759f23" providerId="ADAL" clId="{2C32DC77-3316-5A44-99F4-3731869D0700}" dt="2023-01-18T23:25:49.842" v="6403"/>
          <ac:spMkLst>
            <pc:docMk/>
            <pc:sldMk cId="1303585" sldId="259"/>
            <ac:spMk id="1107" creationId="{7F9ABA4B-D024-A5C1-3031-89BD010E5050}"/>
          </ac:spMkLst>
        </pc:spChg>
        <pc:spChg chg="mod">
          <ac:chgData name="Paul Jordan" userId="ed43b065-ed91-4d94-a70c-3ec7c0759f23" providerId="ADAL" clId="{2C32DC77-3316-5A44-99F4-3731869D0700}" dt="2023-01-18T23:25:49.956" v="6407"/>
          <ac:spMkLst>
            <pc:docMk/>
            <pc:sldMk cId="1303585" sldId="259"/>
            <ac:spMk id="1109" creationId="{9BBE0268-0B3C-6892-8161-1365CDEBB377}"/>
          </ac:spMkLst>
        </pc:spChg>
        <pc:spChg chg="mod">
          <ac:chgData name="Paul Jordan" userId="ed43b065-ed91-4d94-a70c-3ec7c0759f23" providerId="ADAL" clId="{2C32DC77-3316-5A44-99F4-3731869D0700}" dt="2023-01-18T23:25:49.956" v="6407"/>
          <ac:spMkLst>
            <pc:docMk/>
            <pc:sldMk cId="1303585" sldId="259"/>
            <ac:spMk id="1110" creationId="{4D137FF1-5E54-082C-22B0-F4D6FDB798F9}"/>
          </ac:spMkLst>
        </pc:spChg>
        <pc:spChg chg="mod">
          <ac:chgData name="Paul Jordan" userId="ed43b065-ed91-4d94-a70c-3ec7c0759f23" providerId="ADAL" clId="{2C32DC77-3316-5A44-99F4-3731869D0700}" dt="2023-01-18T23:25:50.029" v="6411"/>
          <ac:spMkLst>
            <pc:docMk/>
            <pc:sldMk cId="1303585" sldId="259"/>
            <ac:spMk id="1112" creationId="{C19FD9C4-E1C2-7DA4-BCED-FB741FD934F4}"/>
          </ac:spMkLst>
        </pc:spChg>
        <pc:spChg chg="mod">
          <ac:chgData name="Paul Jordan" userId="ed43b065-ed91-4d94-a70c-3ec7c0759f23" providerId="ADAL" clId="{2C32DC77-3316-5A44-99F4-3731869D0700}" dt="2023-01-18T23:25:50.029" v="6411"/>
          <ac:spMkLst>
            <pc:docMk/>
            <pc:sldMk cId="1303585" sldId="259"/>
            <ac:spMk id="1113" creationId="{971B3C14-AEF5-3D15-A3CD-EF40B73A05AC}"/>
          </ac:spMkLst>
        </pc:spChg>
        <pc:spChg chg="mod">
          <ac:chgData name="Paul Jordan" userId="ed43b065-ed91-4d94-a70c-3ec7c0759f23" providerId="ADAL" clId="{2C32DC77-3316-5A44-99F4-3731869D0700}" dt="2023-01-20T01:01:14.735" v="10167"/>
          <ac:spMkLst>
            <pc:docMk/>
            <pc:sldMk cId="1303585" sldId="259"/>
            <ac:spMk id="1133" creationId="{6C6A7274-A36A-A942-48ED-9038223D6F36}"/>
          </ac:spMkLst>
        </pc:spChg>
        <pc:spChg chg="mod">
          <ac:chgData name="Paul Jordan" userId="ed43b065-ed91-4d94-a70c-3ec7c0759f23" providerId="ADAL" clId="{2C32DC77-3316-5A44-99F4-3731869D0700}" dt="2023-01-18T23:25:50.533" v="6455"/>
          <ac:spMkLst>
            <pc:docMk/>
            <pc:sldMk cId="1303585" sldId="259"/>
            <ac:spMk id="1136" creationId="{64B017A2-E5FE-5CD0-631B-343857367998}"/>
          </ac:spMkLst>
        </pc:spChg>
        <pc:spChg chg="mod">
          <ac:chgData name="Paul Jordan" userId="ed43b065-ed91-4d94-a70c-3ec7c0759f23" providerId="ADAL" clId="{2C32DC77-3316-5A44-99F4-3731869D0700}" dt="2023-01-18T23:25:50.779" v="6459"/>
          <ac:spMkLst>
            <pc:docMk/>
            <pc:sldMk cId="1303585" sldId="259"/>
            <ac:spMk id="1139" creationId="{0B9C8EB6-F333-62CE-3CBF-4E3AD617F900}"/>
          </ac:spMkLst>
        </pc:spChg>
        <pc:spChg chg="mod">
          <ac:chgData name="Paul Jordan" userId="ed43b065-ed91-4d94-a70c-3ec7c0759f23" providerId="ADAL" clId="{2C32DC77-3316-5A44-99F4-3731869D0700}" dt="2023-01-20T01:01:14.762" v="10171"/>
          <ac:spMkLst>
            <pc:docMk/>
            <pc:sldMk cId="1303585" sldId="259"/>
            <ac:spMk id="1142" creationId="{3BF5EE4B-97EE-6515-04EE-179D39B3BF55}"/>
          </ac:spMkLst>
        </pc:spChg>
        <pc:spChg chg="mod">
          <ac:chgData name="Paul Jordan" userId="ed43b065-ed91-4d94-a70c-3ec7c0759f23" providerId="ADAL" clId="{2C32DC77-3316-5A44-99F4-3731869D0700}" dt="2023-01-20T01:01:14.788" v="10175"/>
          <ac:spMkLst>
            <pc:docMk/>
            <pc:sldMk cId="1303585" sldId="259"/>
            <ac:spMk id="1145" creationId="{CB31A23C-F3D8-8A48-3B71-BDE87371EE94}"/>
          </ac:spMkLst>
        </pc:spChg>
        <pc:spChg chg="mod">
          <ac:chgData name="Paul Jordan" userId="ed43b065-ed91-4d94-a70c-3ec7c0759f23" providerId="ADAL" clId="{2C32DC77-3316-5A44-99F4-3731869D0700}" dt="2023-01-20T01:01:14.818" v="10179"/>
          <ac:spMkLst>
            <pc:docMk/>
            <pc:sldMk cId="1303585" sldId="259"/>
            <ac:spMk id="1148" creationId="{9DF3A7AA-C77B-2B13-991C-5138E744BAF7}"/>
          </ac:spMkLst>
        </pc:spChg>
        <pc:spChg chg="mod">
          <ac:chgData name="Paul Jordan" userId="ed43b065-ed91-4d94-a70c-3ec7c0759f23" providerId="ADAL" clId="{2C32DC77-3316-5A44-99F4-3731869D0700}" dt="2023-01-20T01:01:14.849" v="10183"/>
          <ac:spMkLst>
            <pc:docMk/>
            <pc:sldMk cId="1303585" sldId="259"/>
            <ac:spMk id="1151" creationId="{DC1F1769-6AA9-F705-165B-7E80F11C872E}"/>
          </ac:spMkLst>
        </pc:spChg>
        <pc:spChg chg="mod">
          <ac:chgData name="Paul Jordan" userId="ed43b065-ed91-4d94-a70c-3ec7c0759f23" providerId="ADAL" clId="{2C32DC77-3316-5A44-99F4-3731869D0700}" dt="2023-01-18T23:23:41.687" v="6241"/>
          <ac:spMkLst>
            <pc:docMk/>
            <pc:sldMk cId="1303585" sldId="259"/>
            <ac:spMk id="1154" creationId="{9451AD8D-9134-EE8C-F9BF-3AB4D719E6E8}"/>
          </ac:spMkLst>
        </pc:spChg>
        <pc:spChg chg="mod">
          <ac:chgData name="Paul Jordan" userId="ed43b065-ed91-4d94-a70c-3ec7c0759f23" providerId="ADAL" clId="{2C32DC77-3316-5A44-99F4-3731869D0700}" dt="2023-01-18T23:25:51.770" v="6479"/>
          <ac:spMkLst>
            <pc:docMk/>
            <pc:sldMk cId="1303585" sldId="259"/>
            <ac:spMk id="1157" creationId="{BE95497D-DA26-E0EE-68E3-A2357390299A}"/>
          </ac:spMkLst>
        </pc:spChg>
        <pc:spChg chg="mod">
          <ac:chgData name="Paul Jordan" userId="ed43b065-ed91-4d94-a70c-3ec7c0759f23" providerId="ADAL" clId="{2C32DC77-3316-5A44-99F4-3731869D0700}" dt="2023-01-20T01:01:14.875" v="10187"/>
          <ac:spMkLst>
            <pc:docMk/>
            <pc:sldMk cId="1303585" sldId="259"/>
            <ac:spMk id="1160" creationId="{334B7F67-2789-8DE8-F73C-78C816C30BE6}"/>
          </ac:spMkLst>
        </pc:spChg>
        <pc:spChg chg="mod">
          <ac:chgData name="Paul Jordan" userId="ed43b065-ed91-4d94-a70c-3ec7c0759f23" providerId="ADAL" clId="{2C32DC77-3316-5A44-99F4-3731869D0700}" dt="2023-01-20T03:16:25.318" v="10341"/>
          <ac:spMkLst>
            <pc:docMk/>
            <pc:sldMk cId="1303585" sldId="259"/>
            <ac:spMk id="1163" creationId="{A237A8BF-5BC7-EBDC-8E50-F6C3FC13DFE0}"/>
          </ac:spMkLst>
        </pc:spChg>
        <pc:spChg chg="mod">
          <ac:chgData name="Paul Jordan" userId="ed43b065-ed91-4d94-a70c-3ec7c0759f23" providerId="ADAL" clId="{2C32DC77-3316-5A44-99F4-3731869D0700}" dt="2023-01-20T01:01:14.929" v="10195"/>
          <ac:spMkLst>
            <pc:docMk/>
            <pc:sldMk cId="1303585" sldId="259"/>
            <ac:spMk id="1166" creationId="{716E9429-1878-3B54-4DEF-37B2AA0BD87C}"/>
          </ac:spMkLst>
        </pc:spChg>
        <pc:spChg chg="mod">
          <ac:chgData name="Paul Jordan" userId="ed43b065-ed91-4d94-a70c-3ec7c0759f23" providerId="ADAL" clId="{2C32DC77-3316-5A44-99F4-3731869D0700}" dt="2023-01-20T03:16:25.343" v="10345"/>
          <ac:spMkLst>
            <pc:docMk/>
            <pc:sldMk cId="1303585" sldId="259"/>
            <ac:spMk id="1169" creationId="{9210A734-1E5C-0EDA-5F59-49254464E05C}"/>
          </ac:spMkLst>
        </pc:spChg>
        <pc:spChg chg="mod">
          <ac:chgData name="Paul Jordan" userId="ed43b065-ed91-4d94-a70c-3ec7c0759f23" providerId="ADAL" clId="{2C32DC77-3316-5A44-99F4-3731869D0700}" dt="2023-01-20T03:16:25.369" v="10349"/>
          <ac:spMkLst>
            <pc:docMk/>
            <pc:sldMk cId="1303585" sldId="259"/>
            <ac:spMk id="1172" creationId="{5174A4CD-7BF7-5976-055E-078E444BDCFF}"/>
          </ac:spMkLst>
        </pc:spChg>
        <pc:spChg chg="mod">
          <ac:chgData name="Paul Jordan" userId="ed43b065-ed91-4d94-a70c-3ec7c0759f23" providerId="ADAL" clId="{2C32DC77-3316-5A44-99F4-3731869D0700}" dt="2023-01-20T03:16:25.396" v="10353"/>
          <ac:spMkLst>
            <pc:docMk/>
            <pc:sldMk cId="1303585" sldId="259"/>
            <ac:spMk id="1175" creationId="{857A2E99-9F99-003C-DA95-961AD8B54FD5}"/>
          </ac:spMkLst>
        </pc:spChg>
        <pc:spChg chg="mod">
          <ac:chgData name="Paul Jordan" userId="ed43b065-ed91-4d94-a70c-3ec7c0759f23" providerId="ADAL" clId="{2C32DC77-3316-5A44-99F4-3731869D0700}" dt="2023-01-20T03:16:25.424" v="10357"/>
          <ac:spMkLst>
            <pc:docMk/>
            <pc:sldMk cId="1303585" sldId="259"/>
            <ac:spMk id="1178" creationId="{D83776BB-9542-913E-5A15-FFE4ABE4BC58}"/>
          </ac:spMkLst>
        </pc:spChg>
        <pc:spChg chg="mod">
          <ac:chgData name="Paul Jordan" userId="ed43b065-ed91-4d94-a70c-3ec7c0759f23" providerId="ADAL" clId="{2C32DC77-3316-5A44-99F4-3731869D0700}" dt="2023-01-20T03:16:25.463" v="10361"/>
          <ac:spMkLst>
            <pc:docMk/>
            <pc:sldMk cId="1303585" sldId="259"/>
            <ac:spMk id="1181" creationId="{424BEFF8-B812-4AC5-7975-6E5CFADE5BE3}"/>
          </ac:spMkLst>
        </pc:spChg>
        <pc:spChg chg="mod">
          <ac:chgData name="Paul Jordan" userId="ed43b065-ed91-4d94-a70c-3ec7c0759f23" providerId="ADAL" clId="{2C32DC77-3316-5A44-99F4-3731869D0700}" dt="2023-01-18T23:25:53.189" v="6515"/>
          <ac:spMkLst>
            <pc:docMk/>
            <pc:sldMk cId="1303585" sldId="259"/>
            <ac:spMk id="1184" creationId="{C4B92D42-305D-18E7-5D52-631ECC67E3BC}"/>
          </ac:spMkLst>
        </pc:spChg>
        <pc:spChg chg="add mod">
          <ac:chgData name="Paul Jordan" userId="ed43b065-ed91-4d94-a70c-3ec7c0759f23" providerId="ADAL" clId="{2C32DC77-3316-5A44-99F4-3731869D0700}" dt="2023-01-18T23:30:30.437" v="6716" actId="1037"/>
          <ac:spMkLst>
            <pc:docMk/>
            <pc:sldMk cId="1303585" sldId="259"/>
            <ac:spMk id="1187" creationId="{3CF1661C-6891-44EA-6B36-1E6980E48ED6}"/>
          </ac:spMkLst>
        </pc:spChg>
        <pc:spChg chg="add mod">
          <ac:chgData name="Paul Jordan" userId="ed43b065-ed91-4d94-a70c-3ec7c0759f23" providerId="ADAL" clId="{2C32DC77-3316-5A44-99F4-3731869D0700}" dt="2023-01-18T23:32:55.769" v="6820" actId="403"/>
          <ac:spMkLst>
            <pc:docMk/>
            <pc:sldMk cId="1303585" sldId="259"/>
            <ac:spMk id="1188" creationId="{BC4A82D4-4236-7598-A609-A669872E728F}"/>
          </ac:spMkLst>
        </pc:spChg>
        <pc:spChg chg="add mod">
          <ac:chgData name="Paul Jordan" userId="ed43b065-ed91-4d94-a70c-3ec7c0759f23" providerId="ADAL" clId="{2C32DC77-3316-5A44-99F4-3731869D0700}" dt="2023-01-20T03:18:29.256" v="10589" actId="20577"/>
          <ac:spMkLst>
            <pc:docMk/>
            <pc:sldMk cId="1303585" sldId="259"/>
            <ac:spMk id="1192" creationId="{13E720E7-5D10-E093-2742-D2FAC87C686E}"/>
          </ac:spMkLst>
        </pc:spChg>
        <pc:spChg chg="mod">
          <ac:chgData name="Paul Jordan" userId="ed43b065-ed91-4d94-a70c-3ec7c0759f23" providerId="ADAL" clId="{2C32DC77-3316-5A44-99F4-3731869D0700}" dt="2023-01-20T04:36:11.012" v="14010" actId="207"/>
          <ac:spMkLst>
            <pc:docMk/>
            <pc:sldMk cId="1303585" sldId="259"/>
            <ac:spMk id="1193" creationId="{FDD32FCF-8C3A-26F8-2192-EE96E4C37EDF}"/>
          </ac:spMkLst>
        </pc:spChg>
        <pc:grpChg chg="add mod">
          <ac:chgData name="Paul Jordan" userId="ed43b065-ed91-4d94-a70c-3ec7c0759f23" providerId="ADAL" clId="{2C32DC77-3316-5A44-99F4-3731869D0700}" dt="2023-01-20T03:16:25.491" v="10365"/>
          <ac:grpSpMkLst>
            <pc:docMk/>
            <pc:sldMk cId="1303585" sldId="259"/>
            <ac:grpSpMk id="4" creationId="{F1EFEADF-95F5-AA00-D624-1E0F4EEBB82C}"/>
          </ac:grpSpMkLst>
        </pc:grpChg>
        <pc:grpChg chg="add mod">
          <ac:chgData name="Paul Jordan" userId="ed43b065-ed91-4d94-a70c-3ec7c0759f23" providerId="ADAL" clId="{2C32DC77-3316-5A44-99F4-3731869D0700}" dt="2023-01-20T01:01:15.098" v="10219"/>
          <ac:grpSpMkLst>
            <pc:docMk/>
            <pc:sldMk cId="1303585" sldId="259"/>
            <ac:grpSpMk id="9" creationId="{EFDA6CA4-4A39-5C69-6267-E0EA5787AA50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1" creationId="{BAED2CBC-B97A-F320-B87C-CC437E9632AD}"/>
          </ac:grpSpMkLst>
        </pc:grpChg>
        <pc:grpChg chg="add mod">
          <ac:chgData name="Paul Jordan" userId="ed43b065-ed91-4d94-a70c-3ec7c0759f23" providerId="ADAL" clId="{2C32DC77-3316-5A44-99F4-3731869D0700}" dt="2023-01-20T01:01:15.125" v="10223"/>
          <ac:grpSpMkLst>
            <pc:docMk/>
            <pc:sldMk cId="1303585" sldId="259"/>
            <ac:grpSpMk id="13" creationId="{EA197FCA-AF4F-7F4D-275E-EA5B9A7CC1DB}"/>
          </ac:grpSpMkLst>
        </pc:grpChg>
        <pc:grpChg chg="add del mod">
          <ac:chgData name="Paul Jordan" userId="ed43b065-ed91-4d94-a70c-3ec7c0759f23" providerId="ADAL" clId="{2C32DC77-3316-5A44-99F4-3731869D0700}" dt="2023-01-18T23:15:33.631" v="5532" actId="478"/>
          <ac:grpSpMkLst>
            <pc:docMk/>
            <pc:sldMk cId="1303585" sldId="259"/>
            <ac:grpSpMk id="14" creationId="{316B5A65-A971-A04D-F48E-D51C3B1D6D15}"/>
          </ac:grpSpMkLst>
        </pc:grpChg>
        <pc:grpChg chg="add mod">
          <ac:chgData name="Paul Jordan" userId="ed43b065-ed91-4d94-a70c-3ec7c0759f23" providerId="ADAL" clId="{2C32DC77-3316-5A44-99F4-3731869D0700}" dt="2023-01-20T01:01:15.153" v="10227"/>
          <ac:grpSpMkLst>
            <pc:docMk/>
            <pc:sldMk cId="1303585" sldId="259"/>
            <ac:grpSpMk id="16" creationId="{7F8A9EB3-D36B-0A55-00EA-29AD9C1ABDF0}"/>
          </ac:grpSpMkLst>
        </pc:grpChg>
        <pc:grpChg chg="add del mod">
          <ac:chgData name="Paul Jordan" userId="ed43b065-ed91-4d94-a70c-3ec7c0759f23" providerId="ADAL" clId="{2C32DC77-3316-5A44-99F4-3731869D0700}" dt="2023-01-18T23:15:11.067" v="5502" actId="478"/>
          <ac:grpSpMkLst>
            <pc:docMk/>
            <pc:sldMk cId="1303585" sldId="259"/>
            <ac:grpSpMk id="17" creationId="{D51F1734-C7CE-548D-9B34-2EC2EE4A7124}"/>
          </ac:grpSpMkLst>
        </pc:grpChg>
        <pc:grpChg chg="add mod">
          <ac:chgData name="Paul Jordan" userId="ed43b065-ed91-4d94-a70c-3ec7c0759f23" providerId="ADAL" clId="{2C32DC77-3316-5A44-99F4-3731869D0700}" dt="2023-01-20T01:01:15.179" v="10231"/>
          <ac:grpSpMkLst>
            <pc:docMk/>
            <pc:sldMk cId="1303585" sldId="259"/>
            <ac:grpSpMk id="19" creationId="{8F2F06F1-045C-280F-657C-216C5C3E8261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21" creationId="{53605CF2-3293-0D0A-F7C5-5055FC4FC448}"/>
          </ac:grpSpMkLst>
        </pc:grpChg>
        <pc:grpChg chg="add mod">
          <ac:chgData name="Paul Jordan" userId="ed43b065-ed91-4d94-a70c-3ec7c0759f23" providerId="ADAL" clId="{2C32DC77-3316-5A44-99F4-3731869D0700}" dt="2023-01-20T03:16:25.519" v="10369"/>
          <ac:grpSpMkLst>
            <pc:docMk/>
            <pc:sldMk cId="1303585" sldId="259"/>
            <ac:grpSpMk id="23" creationId="{8C61C33D-EE8C-0147-2413-B9B6057D2AEC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25" creationId="{4F13702B-9308-A8D4-A9E2-99588AD900AC}"/>
          </ac:grpSpMkLst>
        </pc:grpChg>
        <pc:grpChg chg="mod">
          <ac:chgData name="Paul Jordan" userId="ed43b065-ed91-4d94-a70c-3ec7c0759f23" providerId="ADAL" clId="{2C32DC77-3316-5A44-99F4-3731869D0700}" dt="2023-01-20T04:18:49.289" v="13337"/>
          <ac:grpSpMkLst>
            <pc:docMk/>
            <pc:sldMk cId="1303585" sldId="259"/>
            <ac:grpSpMk id="26" creationId="{C65AC4DE-610A-B397-EC9F-E8AE5DE29B5D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28" creationId="{B58C8D98-0BF5-45A9-2951-01789C79D177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31" creationId="{8246C9BC-8606-43AF-0066-A32F342B503F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34" creationId="{B7BBF673-713D-CEA9-723C-76CA4F404520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52" creationId="{71BAB559-98EF-23F9-49FD-42D312B94491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55" creationId="{2106E641-379D-8E43-D7B8-43AA15CE708F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60" creationId="{B04D619E-5F8D-6E6A-58F6-E281ECDD9967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63" creationId="{DA47C397-FEE9-DEB9-82BE-1E1B92454A3A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66" creationId="{97D8DD99-2DF9-8077-8FE2-C9D149A072FB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69" creationId="{88A62DBA-D488-80C5-814B-E0C1D9CECD9F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72" creationId="{FFB4246D-8B5D-C6F3-1A5A-7D6CFD728C57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75" creationId="{9B463D3E-1C2F-2248-2A2C-F6FA6A62AB22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78" creationId="{3DE33246-929F-CBEF-39A8-BCB9BC386C98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81" creationId="{FF6594AF-7067-0DDD-C681-6A9F4C8429DA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84" creationId="{057645B5-B911-458F-6E52-EF979DC997DB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87" creationId="{69C53196-1800-72E4-A278-4D342AC4EFB3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90" creationId="{752541F6-9E74-16EA-661B-7E33C367BC95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93" creationId="{80800A3D-F56B-081B-9D46-A9B146A751C8}"/>
          </ac:grpSpMkLst>
        </pc:grpChg>
        <pc:grpChg chg="add del mod">
          <ac:chgData name="Paul Jordan" userId="ed43b065-ed91-4d94-a70c-3ec7c0759f23" providerId="ADAL" clId="{2C32DC77-3316-5A44-99F4-3731869D0700}" dt="2023-01-18T23:14:11.087" v="5466" actId="478"/>
          <ac:grpSpMkLst>
            <pc:docMk/>
            <pc:sldMk cId="1303585" sldId="259"/>
            <ac:grpSpMk id="106" creationId="{29E27245-5B43-6CD7-8143-98E8C8F437BC}"/>
          </ac:grpSpMkLst>
        </pc:grpChg>
        <pc:grpChg chg="add del mod">
          <ac:chgData name="Paul Jordan" userId="ed43b065-ed91-4d94-a70c-3ec7c0759f23" providerId="ADAL" clId="{2C32DC77-3316-5A44-99F4-3731869D0700}" dt="2023-01-18T23:14:11.087" v="5466" actId="478"/>
          <ac:grpSpMkLst>
            <pc:docMk/>
            <pc:sldMk cId="1303585" sldId="259"/>
            <ac:grpSpMk id="109" creationId="{71D1A872-E006-B8C5-65C6-F6B0BF0EC1A8}"/>
          </ac:grpSpMkLst>
        </pc:grpChg>
        <pc:grpChg chg="add del mod">
          <ac:chgData name="Paul Jordan" userId="ed43b065-ed91-4d94-a70c-3ec7c0759f23" providerId="ADAL" clId="{2C32DC77-3316-5A44-99F4-3731869D0700}" dt="2023-01-18T23:14:11.087" v="5466" actId="478"/>
          <ac:grpSpMkLst>
            <pc:docMk/>
            <pc:sldMk cId="1303585" sldId="259"/>
            <ac:grpSpMk id="112" creationId="{7EE00509-4C05-8581-220D-B5202C566FFF}"/>
          </ac:grpSpMkLst>
        </pc:grpChg>
        <pc:grpChg chg="add del mod">
          <ac:chgData name="Paul Jordan" userId="ed43b065-ed91-4d94-a70c-3ec7c0759f23" providerId="ADAL" clId="{2C32DC77-3316-5A44-99F4-3731869D0700}" dt="2023-01-18T23:14:11.087" v="5466" actId="478"/>
          <ac:grpSpMkLst>
            <pc:docMk/>
            <pc:sldMk cId="1303585" sldId="259"/>
            <ac:grpSpMk id="115" creationId="{67642207-C2E7-59E1-A7C3-D9687449ED81}"/>
          </ac:grpSpMkLst>
        </pc:grpChg>
        <pc:grpChg chg="add del mod">
          <ac:chgData name="Paul Jordan" userId="ed43b065-ed91-4d94-a70c-3ec7c0759f23" providerId="ADAL" clId="{2C32DC77-3316-5A44-99F4-3731869D0700}" dt="2023-01-18T23:14:11.087" v="5466" actId="478"/>
          <ac:grpSpMkLst>
            <pc:docMk/>
            <pc:sldMk cId="1303585" sldId="259"/>
            <ac:grpSpMk id="118" creationId="{A3A4BAEE-0F2B-9C46-C8C5-20C1BF8D8D30}"/>
          </ac:grpSpMkLst>
        </pc:grpChg>
        <pc:grpChg chg="add del mod">
          <ac:chgData name="Paul Jordan" userId="ed43b065-ed91-4d94-a70c-3ec7c0759f23" providerId="ADAL" clId="{2C32DC77-3316-5A44-99F4-3731869D0700}" dt="2023-01-18T23:14:11.087" v="5466" actId="478"/>
          <ac:grpSpMkLst>
            <pc:docMk/>
            <pc:sldMk cId="1303585" sldId="259"/>
            <ac:grpSpMk id="121" creationId="{95E5363F-9D4D-9E3D-33CF-BDC4BC2EFB90}"/>
          </ac:grpSpMkLst>
        </pc:grpChg>
        <pc:grpChg chg="add del mod">
          <ac:chgData name="Paul Jordan" userId="ed43b065-ed91-4d94-a70c-3ec7c0759f23" providerId="ADAL" clId="{2C32DC77-3316-5A44-99F4-3731869D0700}" dt="2023-01-18T23:14:11.087" v="5466" actId="478"/>
          <ac:grpSpMkLst>
            <pc:docMk/>
            <pc:sldMk cId="1303585" sldId="259"/>
            <ac:grpSpMk id="124" creationId="{345BD09B-67BD-B326-BA8A-609925D8FBD6}"/>
          </ac:grpSpMkLst>
        </pc:grpChg>
        <pc:grpChg chg="add del mod">
          <ac:chgData name="Paul Jordan" userId="ed43b065-ed91-4d94-a70c-3ec7c0759f23" providerId="ADAL" clId="{2C32DC77-3316-5A44-99F4-3731869D0700}" dt="2023-01-18T23:14:11.087" v="5466" actId="478"/>
          <ac:grpSpMkLst>
            <pc:docMk/>
            <pc:sldMk cId="1303585" sldId="259"/>
            <ac:grpSpMk id="127" creationId="{8F8B3C94-A8E1-923E-FB17-7D314D647232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46" creationId="{0844CE08-4DB3-CBA1-800A-C353F60BBDFE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49" creationId="{E2E95AEA-E931-B54A-495A-BBEA97E2ED75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52" creationId="{D7C1C54D-8B41-8F93-A9C4-6944EB3615F2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55" creationId="{6B365360-3A7F-E00A-C74D-C6A4F0D552D1}"/>
          </ac:grpSpMkLst>
        </pc:grpChg>
        <pc:grpChg chg="add del mod">
          <ac:chgData name="Paul Jordan" userId="ed43b065-ed91-4d94-a70c-3ec7c0759f23" providerId="ADAL" clId="{2C32DC77-3316-5A44-99F4-3731869D0700}" dt="2023-01-18T23:15:36.990" v="5533" actId="478"/>
          <ac:grpSpMkLst>
            <pc:docMk/>
            <pc:sldMk cId="1303585" sldId="259"/>
            <ac:grpSpMk id="158" creationId="{A183F03B-7688-C97E-D563-E9EA5C6A9630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61" creationId="{279D1473-C31A-892E-8D6F-3A15DE232A69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64" creationId="{21C1A3F1-D7EC-3685-D290-D25B2185602C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67" creationId="{25BBDD4A-E740-50A3-5829-F622BCD6724D}"/>
          </ac:grpSpMkLst>
        </pc:grpChg>
        <pc:grpChg chg="add del mod">
          <ac:chgData name="Paul Jordan" userId="ed43b065-ed91-4d94-a70c-3ec7c0759f23" providerId="ADAL" clId="{2C32DC77-3316-5A44-99F4-3731869D0700}" dt="2023-01-18T23:21:17.718" v="5934" actId="478"/>
          <ac:grpSpMkLst>
            <pc:docMk/>
            <pc:sldMk cId="1303585" sldId="259"/>
            <ac:grpSpMk id="170" creationId="{6E6E9823-0047-9A52-2C9A-DA89347433B0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73" creationId="{D32370FE-0B2F-4731-426F-A54D977F6380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76" creationId="{3ED9DA51-9DB8-35E6-BDC7-EE138DF4B5E2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79" creationId="{11A9CB04-3449-F864-F953-C1EAFD4E50E4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82" creationId="{A084881D-3D31-6679-A7D1-05AEA9089F91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85" creationId="{CA965DB7-6782-86B4-6F36-1780FF227AD5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88" creationId="{BF3047DD-B411-09BE-2162-0E6F45009626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91" creationId="{78853B72-7C7B-14A8-DE9E-624F025E91B1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027" creationId="{446CEC77-7F94-EFC6-9252-221B6683782E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031" creationId="{E2C5DED8-4818-0FE5-665C-3B71BDEBDF74}"/>
          </ac:grpSpMkLst>
        </pc:grpChg>
        <pc:grpChg chg="add del mod">
          <ac:chgData name="Paul Jordan" userId="ed43b065-ed91-4d94-a70c-3ec7c0759f23" providerId="ADAL" clId="{2C32DC77-3316-5A44-99F4-3731869D0700}" dt="2023-01-18T23:23:39.059" v="6240" actId="478"/>
          <ac:grpSpMkLst>
            <pc:docMk/>
            <pc:sldMk cId="1303585" sldId="259"/>
            <ac:grpSpMk id="1034" creationId="{04B0C221-8F96-C6AB-C00E-5B4DF5BFA24D}"/>
          </ac:grpSpMkLst>
        </pc:grpChg>
        <pc:grpChg chg="add mod">
          <ac:chgData name="Paul Jordan" userId="ed43b065-ed91-4d94-a70c-3ec7c0759f23" providerId="ADAL" clId="{2C32DC77-3316-5A44-99F4-3731869D0700}" dt="2023-01-20T01:01:14.707" v="10163"/>
          <ac:grpSpMkLst>
            <pc:docMk/>
            <pc:sldMk cId="1303585" sldId="259"/>
            <ac:grpSpMk id="1037" creationId="{F3CCB9DA-FCFA-9ED5-F897-72E20B84D288}"/>
          </ac:grpSpMkLst>
        </pc:grpChg>
        <pc:grpChg chg="add mod">
          <ac:chgData name="Paul Jordan" userId="ed43b065-ed91-4d94-a70c-3ec7c0759f23" providerId="ADAL" clId="{2C32DC77-3316-5A44-99F4-3731869D0700}" dt="2023-01-18T23:25:47.869" v="6275"/>
          <ac:grpSpMkLst>
            <pc:docMk/>
            <pc:sldMk cId="1303585" sldId="259"/>
            <ac:grpSpMk id="1041" creationId="{186AF146-2818-AC4E-7769-7E8B9C9A9876}"/>
          </ac:grpSpMkLst>
        </pc:grpChg>
        <pc:grpChg chg="add mod">
          <ac:chgData name="Paul Jordan" userId="ed43b065-ed91-4d94-a70c-3ec7c0759f23" providerId="ADAL" clId="{2C32DC77-3316-5A44-99F4-3731869D0700}" dt="2023-01-18T23:25:47.939" v="6283"/>
          <ac:grpSpMkLst>
            <pc:docMk/>
            <pc:sldMk cId="1303585" sldId="259"/>
            <ac:grpSpMk id="1045" creationId="{5CBFEED6-6084-836D-CBB6-CB55EC0EEDD9}"/>
          </ac:grpSpMkLst>
        </pc:grpChg>
        <pc:grpChg chg="add mod">
          <ac:chgData name="Paul Jordan" userId="ed43b065-ed91-4d94-a70c-3ec7c0759f23" providerId="ADAL" clId="{2C32DC77-3316-5A44-99F4-3731869D0700}" dt="2023-01-18T23:25:47.981" v="6287"/>
          <ac:grpSpMkLst>
            <pc:docMk/>
            <pc:sldMk cId="1303585" sldId="259"/>
            <ac:grpSpMk id="1048" creationId="{A6FD342F-42B9-7656-F609-E373FA613EBD}"/>
          </ac:grpSpMkLst>
        </pc:grpChg>
        <pc:grpChg chg="add mod">
          <ac:chgData name="Paul Jordan" userId="ed43b065-ed91-4d94-a70c-3ec7c0759f23" providerId="ADAL" clId="{2C32DC77-3316-5A44-99F4-3731869D0700}" dt="2023-01-18T23:25:48.039" v="6291"/>
          <ac:grpSpMkLst>
            <pc:docMk/>
            <pc:sldMk cId="1303585" sldId="259"/>
            <ac:grpSpMk id="1051" creationId="{80B358D3-7DF8-584D-3D34-F9770549733B}"/>
          </ac:grpSpMkLst>
        </pc:grpChg>
        <pc:grpChg chg="add mod">
          <ac:chgData name="Paul Jordan" userId="ed43b065-ed91-4d94-a70c-3ec7c0759f23" providerId="ADAL" clId="{2C32DC77-3316-5A44-99F4-3731869D0700}" dt="2023-01-18T23:25:48.080" v="6295"/>
          <ac:grpSpMkLst>
            <pc:docMk/>
            <pc:sldMk cId="1303585" sldId="259"/>
            <ac:grpSpMk id="1054" creationId="{C099AE71-D88E-61E8-355B-0D5B0BABBC22}"/>
          </ac:grpSpMkLst>
        </pc:grpChg>
        <pc:grpChg chg="add mod">
          <ac:chgData name="Paul Jordan" userId="ed43b065-ed91-4d94-a70c-3ec7c0759f23" providerId="ADAL" clId="{2C32DC77-3316-5A44-99F4-3731869D0700}" dt="2023-01-18T23:25:48.898" v="6351"/>
          <ac:grpSpMkLst>
            <pc:docMk/>
            <pc:sldMk cId="1303585" sldId="259"/>
            <ac:grpSpMk id="1070" creationId="{38500FD0-00E9-DABB-179F-6DA932C5CE63}"/>
          </ac:grpSpMkLst>
        </pc:grpChg>
        <pc:grpChg chg="add mod">
          <ac:chgData name="Paul Jordan" userId="ed43b065-ed91-4d94-a70c-3ec7c0759f23" providerId="ADAL" clId="{2C32DC77-3316-5A44-99F4-3731869D0700}" dt="2023-01-18T23:25:48.977" v="6355"/>
          <ac:grpSpMkLst>
            <pc:docMk/>
            <pc:sldMk cId="1303585" sldId="259"/>
            <ac:grpSpMk id="1073" creationId="{5A1C100C-4888-22B9-F654-8A106C7F35B3}"/>
          </ac:grpSpMkLst>
        </pc:grpChg>
        <pc:grpChg chg="add mod">
          <ac:chgData name="Paul Jordan" userId="ed43b065-ed91-4d94-a70c-3ec7c0759f23" providerId="ADAL" clId="{2C32DC77-3316-5A44-99F4-3731869D0700}" dt="2023-01-18T23:25:49.144" v="6367"/>
          <ac:grpSpMkLst>
            <pc:docMk/>
            <pc:sldMk cId="1303585" sldId="259"/>
            <ac:grpSpMk id="1078" creationId="{450E602F-483C-4CFA-7699-DB576C19B4F5}"/>
          </ac:grpSpMkLst>
        </pc:grpChg>
        <pc:grpChg chg="add mod">
          <ac:chgData name="Paul Jordan" userId="ed43b065-ed91-4d94-a70c-3ec7c0759f23" providerId="ADAL" clId="{2C32DC77-3316-5A44-99F4-3731869D0700}" dt="2023-01-18T23:25:49.201" v="6371"/>
          <ac:grpSpMkLst>
            <pc:docMk/>
            <pc:sldMk cId="1303585" sldId="259"/>
            <ac:grpSpMk id="1081" creationId="{239A7AF5-5C7B-EDFB-4723-FB4ADD938980}"/>
          </ac:grpSpMkLst>
        </pc:grpChg>
        <pc:grpChg chg="add mod">
          <ac:chgData name="Paul Jordan" userId="ed43b065-ed91-4d94-a70c-3ec7c0759f23" providerId="ADAL" clId="{2C32DC77-3316-5A44-99F4-3731869D0700}" dt="2023-01-18T23:25:49.287" v="6375"/>
          <ac:grpSpMkLst>
            <pc:docMk/>
            <pc:sldMk cId="1303585" sldId="259"/>
            <ac:grpSpMk id="1084" creationId="{FC2624BA-082A-7B94-0468-B4D2ED9B4768}"/>
          </ac:grpSpMkLst>
        </pc:grpChg>
        <pc:grpChg chg="add mod">
          <ac:chgData name="Paul Jordan" userId="ed43b065-ed91-4d94-a70c-3ec7c0759f23" providerId="ADAL" clId="{2C32DC77-3316-5A44-99F4-3731869D0700}" dt="2023-01-18T23:25:49.349" v="6379"/>
          <ac:grpSpMkLst>
            <pc:docMk/>
            <pc:sldMk cId="1303585" sldId="259"/>
            <ac:grpSpMk id="1087" creationId="{60B74AB4-58E5-B3EB-3C6A-D27372695C65}"/>
          </ac:grpSpMkLst>
        </pc:grpChg>
        <pc:grpChg chg="add mod">
          <ac:chgData name="Paul Jordan" userId="ed43b065-ed91-4d94-a70c-3ec7c0759f23" providerId="ADAL" clId="{2C32DC77-3316-5A44-99F4-3731869D0700}" dt="2023-01-18T23:25:49.431" v="6383"/>
          <ac:grpSpMkLst>
            <pc:docMk/>
            <pc:sldMk cId="1303585" sldId="259"/>
            <ac:grpSpMk id="1090" creationId="{04C47F56-595A-E482-14E2-9AB7AFDD66A2}"/>
          </ac:grpSpMkLst>
        </pc:grpChg>
        <pc:grpChg chg="add mod">
          <ac:chgData name="Paul Jordan" userId="ed43b065-ed91-4d94-a70c-3ec7c0759f23" providerId="ADAL" clId="{2C32DC77-3316-5A44-99F4-3731869D0700}" dt="2023-01-18T23:25:49.464" v="6387"/>
          <ac:grpSpMkLst>
            <pc:docMk/>
            <pc:sldMk cId="1303585" sldId="259"/>
            <ac:grpSpMk id="1093" creationId="{C336B213-8D04-A234-3F70-2679C4E4EDE2}"/>
          </ac:grpSpMkLst>
        </pc:grpChg>
        <pc:grpChg chg="add mod">
          <ac:chgData name="Paul Jordan" userId="ed43b065-ed91-4d94-a70c-3ec7c0759f23" providerId="ADAL" clId="{2C32DC77-3316-5A44-99F4-3731869D0700}" dt="2023-01-18T23:25:49.548" v="6391"/>
          <ac:grpSpMkLst>
            <pc:docMk/>
            <pc:sldMk cId="1303585" sldId="259"/>
            <ac:grpSpMk id="1096" creationId="{E10E7AD7-071B-774B-B998-E330F6D410E1}"/>
          </ac:grpSpMkLst>
        </pc:grpChg>
        <pc:grpChg chg="add mod">
          <ac:chgData name="Paul Jordan" userId="ed43b065-ed91-4d94-a70c-3ec7c0759f23" providerId="ADAL" clId="{2C32DC77-3316-5A44-99F4-3731869D0700}" dt="2023-01-18T23:25:49.632" v="6395"/>
          <ac:grpSpMkLst>
            <pc:docMk/>
            <pc:sldMk cId="1303585" sldId="259"/>
            <ac:grpSpMk id="1099" creationId="{92E99FC4-689A-0861-120B-0A2AB666824D}"/>
          </ac:grpSpMkLst>
        </pc:grpChg>
        <pc:grpChg chg="add mod">
          <ac:chgData name="Paul Jordan" userId="ed43b065-ed91-4d94-a70c-3ec7c0759f23" providerId="ADAL" clId="{2C32DC77-3316-5A44-99F4-3731869D0700}" dt="2023-01-18T23:25:49.777" v="6399"/>
          <ac:grpSpMkLst>
            <pc:docMk/>
            <pc:sldMk cId="1303585" sldId="259"/>
            <ac:grpSpMk id="1102" creationId="{68E436F4-6D7B-B383-A09F-BB44BC0C7381}"/>
          </ac:grpSpMkLst>
        </pc:grpChg>
        <pc:grpChg chg="add mod">
          <ac:chgData name="Paul Jordan" userId="ed43b065-ed91-4d94-a70c-3ec7c0759f23" providerId="ADAL" clId="{2C32DC77-3316-5A44-99F4-3731869D0700}" dt="2023-01-18T23:25:49.842" v="6403"/>
          <ac:grpSpMkLst>
            <pc:docMk/>
            <pc:sldMk cId="1303585" sldId="259"/>
            <ac:grpSpMk id="1105" creationId="{1AECDC03-C886-3D15-8348-17C98CF6CF62}"/>
          </ac:grpSpMkLst>
        </pc:grpChg>
        <pc:grpChg chg="add mod">
          <ac:chgData name="Paul Jordan" userId="ed43b065-ed91-4d94-a70c-3ec7c0759f23" providerId="ADAL" clId="{2C32DC77-3316-5A44-99F4-3731869D0700}" dt="2023-01-18T23:25:49.956" v="6407"/>
          <ac:grpSpMkLst>
            <pc:docMk/>
            <pc:sldMk cId="1303585" sldId="259"/>
            <ac:grpSpMk id="1108" creationId="{AAE87B51-3D20-209F-4904-6AE8DF994FFF}"/>
          </ac:grpSpMkLst>
        </pc:grpChg>
        <pc:grpChg chg="add mod">
          <ac:chgData name="Paul Jordan" userId="ed43b065-ed91-4d94-a70c-3ec7c0759f23" providerId="ADAL" clId="{2C32DC77-3316-5A44-99F4-3731869D0700}" dt="2023-01-18T23:25:50.029" v="6411"/>
          <ac:grpSpMkLst>
            <pc:docMk/>
            <pc:sldMk cId="1303585" sldId="259"/>
            <ac:grpSpMk id="1111" creationId="{47774E83-F2E9-4175-4787-2F3053618EF9}"/>
          </ac:grpSpMkLst>
        </pc:grpChg>
        <pc:grpChg chg="add mod">
          <ac:chgData name="Paul Jordan" userId="ed43b065-ed91-4d94-a70c-3ec7c0759f23" providerId="ADAL" clId="{2C32DC77-3316-5A44-99F4-3731869D0700}" dt="2023-01-20T01:01:14.735" v="10167"/>
          <ac:grpSpMkLst>
            <pc:docMk/>
            <pc:sldMk cId="1303585" sldId="259"/>
            <ac:grpSpMk id="1132" creationId="{A6370DFC-FF4A-F28F-AB30-1D5EBF6F6AFB}"/>
          </ac:grpSpMkLst>
        </pc:grpChg>
        <pc:grpChg chg="add del mod">
          <ac:chgData name="Paul Jordan" userId="ed43b065-ed91-4d94-a70c-3ec7c0759f23" providerId="ADAL" clId="{2C32DC77-3316-5A44-99F4-3731869D0700}" dt="2023-01-20T00:57:11.436" v="10150" actId="478"/>
          <ac:grpSpMkLst>
            <pc:docMk/>
            <pc:sldMk cId="1303585" sldId="259"/>
            <ac:grpSpMk id="1135" creationId="{62CC3863-E81D-E586-432F-3AF87472BD2A}"/>
          </ac:grpSpMkLst>
        </pc:grpChg>
        <pc:grpChg chg="add del mod">
          <ac:chgData name="Paul Jordan" userId="ed43b065-ed91-4d94-a70c-3ec7c0759f23" providerId="ADAL" clId="{2C32DC77-3316-5A44-99F4-3731869D0700}" dt="2023-01-20T00:57:13.688" v="10151" actId="478"/>
          <ac:grpSpMkLst>
            <pc:docMk/>
            <pc:sldMk cId="1303585" sldId="259"/>
            <ac:grpSpMk id="1138" creationId="{0E74A978-E6B0-09A7-F0B8-9E2632504724}"/>
          </ac:grpSpMkLst>
        </pc:grpChg>
        <pc:grpChg chg="add mod">
          <ac:chgData name="Paul Jordan" userId="ed43b065-ed91-4d94-a70c-3ec7c0759f23" providerId="ADAL" clId="{2C32DC77-3316-5A44-99F4-3731869D0700}" dt="2023-01-20T01:01:14.762" v="10171"/>
          <ac:grpSpMkLst>
            <pc:docMk/>
            <pc:sldMk cId="1303585" sldId="259"/>
            <ac:grpSpMk id="1141" creationId="{2047DFEA-373E-FEEB-3E73-6C34C72B36A8}"/>
          </ac:grpSpMkLst>
        </pc:grpChg>
        <pc:grpChg chg="add mod">
          <ac:chgData name="Paul Jordan" userId="ed43b065-ed91-4d94-a70c-3ec7c0759f23" providerId="ADAL" clId="{2C32DC77-3316-5A44-99F4-3731869D0700}" dt="2023-01-20T01:01:14.788" v="10175"/>
          <ac:grpSpMkLst>
            <pc:docMk/>
            <pc:sldMk cId="1303585" sldId="259"/>
            <ac:grpSpMk id="1144" creationId="{5385BCB6-73E3-DBDD-5A5E-1917A072CEBF}"/>
          </ac:grpSpMkLst>
        </pc:grpChg>
        <pc:grpChg chg="add mod">
          <ac:chgData name="Paul Jordan" userId="ed43b065-ed91-4d94-a70c-3ec7c0759f23" providerId="ADAL" clId="{2C32DC77-3316-5A44-99F4-3731869D0700}" dt="2023-01-20T01:01:14.818" v="10179"/>
          <ac:grpSpMkLst>
            <pc:docMk/>
            <pc:sldMk cId="1303585" sldId="259"/>
            <ac:grpSpMk id="1147" creationId="{4F7620D6-B44C-A522-BE96-3F2D575BBCA2}"/>
          </ac:grpSpMkLst>
        </pc:grpChg>
        <pc:grpChg chg="add mod">
          <ac:chgData name="Paul Jordan" userId="ed43b065-ed91-4d94-a70c-3ec7c0759f23" providerId="ADAL" clId="{2C32DC77-3316-5A44-99F4-3731869D0700}" dt="2023-01-20T01:01:14.849" v="10183"/>
          <ac:grpSpMkLst>
            <pc:docMk/>
            <pc:sldMk cId="1303585" sldId="259"/>
            <ac:grpSpMk id="1150" creationId="{6BF02B54-1915-A962-D2DD-223FE251C420}"/>
          </ac:grpSpMkLst>
        </pc:grpChg>
        <pc:grpChg chg="add del mod">
          <ac:chgData name="Paul Jordan" userId="ed43b065-ed91-4d94-a70c-3ec7c0759f23" providerId="ADAL" clId="{2C32DC77-3316-5A44-99F4-3731869D0700}" dt="2023-01-18T23:25:19.615" v="6258" actId="478"/>
          <ac:grpSpMkLst>
            <pc:docMk/>
            <pc:sldMk cId="1303585" sldId="259"/>
            <ac:grpSpMk id="1153" creationId="{6CBE562D-CAB6-E146-FA35-D77C3F4CE7EF}"/>
          </ac:grpSpMkLst>
        </pc:grpChg>
        <pc:grpChg chg="add del mod">
          <ac:chgData name="Paul Jordan" userId="ed43b065-ed91-4d94-a70c-3ec7c0759f23" providerId="ADAL" clId="{2C32DC77-3316-5A44-99F4-3731869D0700}" dt="2023-01-20T00:55:34.447" v="10139" actId="478"/>
          <ac:grpSpMkLst>
            <pc:docMk/>
            <pc:sldMk cId="1303585" sldId="259"/>
            <ac:grpSpMk id="1156" creationId="{DC65D2A5-11C3-DBAF-3C5C-3EDE6FA6612C}"/>
          </ac:grpSpMkLst>
        </pc:grpChg>
        <pc:grpChg chg="add del mod">
          <ac:chgData name="Paul Jordan" userId="ed43b065-ed91-4d94-a70c-3ec7c0759f23" providerId="ADAL" clId="{2C32DC77-3316-5A44-99F4-3731869D0700}" dt="2023-01-20T03:15:31.216" v="10333" actId="478"/>
          <ac:grpSpMkLst>
            <pc:docMk/>
            <pc:sldMk cId="1303585" sldId="259"/>
            <ac:grpSpMk id="1159" creationId="{780BE158-F0A7-53EA-9D42-81DA8C2382F6}"/>
          </ac:grpSpMkLst>
        </pc:grpChg>
        <pc:grpChg chg="add mod">
          <ac:chgData name="Paul Jordan" userId="ed43b065-ed91-4d94-a70c-3ec7c0759f23" providerId="ADAL" clId="{2C32DC77-3316-5A44-99F4-3731869D0700}" dt="2023-01-20T03:16:25.318" v="10341"/>
          <ac:grpSpMkLst>
            <pc:docMk/>
            <pc:sldMk cId="1303585" sldId="259"/>
            <ac:grpSpMk id="1162" creationId="{B0390987-8FCF-3B23-7BF1-F6DA93E3E0A9}"/>
          </ac:grpSpMkLst>
        </pc:grpChg>
        <pc:grpChg chg="add del mod">
          <ac:chgData name="Paul Jordan" userId="ed43b065-ed91-4d94-a70c-3ec7c0759f23" providerId="ADAL" clId="{2C32DC77-3316-5A44-99F4-3731869D0700}" dt="2023-01-20T03:15:00.917" v="10332" actId="478"/>
          <ac:grpSpMkLst>
            <pc:docMk/>
            <pc:sldMk cId="1303585" sldId="259"/>
            <ac:grpSpMk id="1165" creationId="{42DDB224-2E07-E117-5535-B0E69F395E1F}"/>
          </ac:grpSpMkLst>
        </pc:grpChg>
        <pc:grpChg chg="add mod">
          <ac:chgData name="Paul Jordan" userId="ed43b065-ed91-4d94-a70c-3ec7c0759f23" providerId="ADAL" clId="{2C32DC77-3316-5A44-99F4-3731869D0700}" dt="2023-01-20T03:16:25.343" v="10345"/>
          <ac:grpSpMkLst>
            <pc:docMk/>
            <pc:sldMk cId="1303585" sldId="259"/>
            <ac:grpSpMk id="1168" creationId="{BB5468F9-BEA3-833E-CB2B-C79A2F9C7045}"/>
          </ac:grpSpMkLst>
        </pc:grpChg>
        <pc:grpChg chg="add mod">
          <ac:chgData name="Paul Jordan" userId="ed43b065-ed91-4d94-a70c-3ec7c0759f23" providerId="ADAL" clId="{2C32DC77-3316-5A44-99F4-3731869D0700}" dt="2023-01-20T03:16:25.369" v="10349"/>
          <ac:grpSpMkLst>
            <pc:docMk/>
            <pc:sldMk cId="1303585" sldId="259"/>
            <ac:grpSpMk id="1171" creationId="{AE2F3E37-DFAE-02B4-EB4A-A1CC988B08AF}"/>
          </ac:grpSpMkLst>
        </pc:grpChg>
        <pc:grpChg chg="add mod">
          <ac:chgData name="Paul Jordan" userId="ed43b065-ed91-4d94-a70c-3ec7c0759f23" providerId="ADAL" clId="{2C32DC77-3316-5A44-99F4-3731869D0700}" dt="2023-01-20T03:16:25.396" v="10353"/>
          <ac:grpSpMkLst>
            <pc:docMk/>
            <pc:sldMk cId="1303585" sldId="259"/>
            <ac:grpSpMk id="1174" creationId="{3CC4A126-EA61-E97A-FF3E-E162C0CFF4EC}"/>
          </ac:grpSpMkLst>
        </pc:grpChg>
        <pc:grpChg chg="add mod">
          <ac:chgData name="Paul Jordan" userId="ed43b065-ed91-4d94-a70c-3ec7c0759f23" providerId="ADAL" clId="{2C32DC77-3316-5A44-99F4-3731869D0700}" dt="2023-01-20T03:16:25.424" v="10357"/>
          <ac:grpSpMkLst>
            <pc:docMk/>
            <pc:sldMk cId="1303585" sldId="259"/>
            <ac:grpSpMk id="1177" creationId="{93EBD57B-E211-CBE3-5FCF-9E42D0B6449B}"/>
          </ac:grpSpMkLst>
        </pc:grpChg>
        <pc:grpChg chg="add mod">
          <ac:chgData name="Paul Jordan" userId="ed43b065-ed91-4d94-a70c-3ec7c0759f23" providerId="ADAL" clId="{2C32DC77-3316-5A44-99F4-3731869D0700}" dt="2023-01-20T03:16:25.463" v="10361"/>
          <ac:grpSpMkLst>
            <pc:docMk/>
            <pc:sldMk cId="1303585" sldId="259"/>
            <ac:grpSpMk id="1180" creationId="{110B6502-540F-ACC1-60B5-EEF2058202E4}"/>
          </ac:grpSpMkLst>
        </pc:grpChg>
        <pc:grpChg chg="add del mod">
          <ac:chgData name="Paul Jordan" userId="ed43b065-ed91-4d94-a70c-3ec7c0759f23" providerId="ADAL" clId="{2C32DC77-3316-5A44-99F4-3731869D0700}" dt="2023-01-20T00:58:12.813" v="10157" actId="478"/>
          <ac:grpSpMkLst>
            <pc:docMk/>
            <pc:sldMk cId="1303585" sldId="259"/>
            <ac:grpSpMk id="1183" creationId="{5A2D430C-D860-99F1-B442-F99772D71275}"/>
          </ac:grpSpMkLst>
        </pc:grpChg>
        <pc:graphicFrameChg chg="add mod modVis replST">
          <ac:chgData name="Paul Jordan" userId="ed43b065-ed91-4d94-a70c-3ec7c0759f23" providerId="ADAL" clId="{2C32DC77-3316-5A44-99F4-3731869D0700}" dt="2023-01-18T22:12:30.786" v="2534"/>
          <ac:graphicFrameMkLst>
            <pc:docMk/>
            <pc:sldMk cId="1303585" sldId="259"/>
            <ac:graphicFrameMk id="5" creationId="{F3F434E7-74BA-087F-1BD5-FE832AA1E591}"/>
          </ac:graphicFrameMkLst>
        </pc:graphicFrameChg>
        <pc:graphicFrameChg chg="add del mod modGraphic">
          <ac:chgData name="Paul Jordan" userId="ed43b065-ed91-4d94-a70c-3ec7c0759f23" providerId="ADAL" clId="{2C32DC77-3316-5A44-99F4-3731869D0700}" dt="2023-01-18T23:21:39.052" v="5944" actId="478"/>
          <ac:graphicFrameMkLst>
            <pc:docMk/>
            <pc:sldMk cId="1303585" sldId="259"/>
            <ac:graphicFrameMk id="8" creationId="{79E9E344-D699-5003-46C8-1BEF22584446}"/>
          </ac:graphicFrameMkLst>
        </pc:graphicFrameChg>
        <pc:graphicFrameChg chg="add mod ord modGraphic">
          <ac:chgData name="Paul Jordan" userId="ed43b065-ed91-4d94-a70c-3ec7c0759f23" providerId="ADAL" clId="{2C32DC77-3316-5A44-99F4-3731869D0700}" dt="2023-01-20T04:21:15.847" v="13370"/>
          <ac:graphicFrameMkLst>
            <pc:docMk/>
            <pc:sldMk cId="1303585" sldId="259"/>
            <ac:graphicFrameMk id="10" creationId="{B64C2198-60C3-1D5F-A233-A9C427B90AC4}"/>
          </ac:graphicFrameMkLst>
        </pc:graphicFrameChg>
        <pc:picChg chg="add del mod">
          <ac:chgData name="Paul Jordan" userId="ed43b065-ed91-4d94-a70c-3ec7c0759f23" providerId="ADAL" clId="{2C32DC77-3316-5A44-99F4-3731869D0700}" dt="2023-01-20T00:57:54.420" v="10156" actId="478"/>
          <ac:picMkLst>
            <pc:docMk/>
            <pc:sldMk cId="1303585" sldId="259"/>
            <ac:picMk id="4" creationId="{4551A283-56E8-B1D3-A0E0-80ED9F92D40F}"/>
          </ac:picMkLst>
        </pc:picChg>
        <pc:picChg chg="mod">
          <ac:chgData name="Paul Jordan" userId="ed43b065-ed91-4d94-a70c-3ec7c0759f23" providerId="ADAL" clId="{2C32DC77-3316-5A44-99F4-3731869D0700}" dt="2023-01-20T01:01:15.098" v="10219"/>
          <ac:picMkLst>
            <pc:docMk/>
            <pc:sldMk cId="1303585" sldId="259"/>
            <ac:picMk id="12" creationId="{A1D7D712-1CEF-FA86-9D95-F4941D390192}"/>
          </ac:picMkLst>
        </pc:picChg>
        <pc:picChg chg="mod">
          <ac:chgData name="Paul Jordan" userId="ed43b065-ed91-4d94-a70c-3ec7c0759f23" providerId="ADAL" clId="{2C32DC77-3316-5A44-99F4-3731869D0700}" dt="2023-01-18T23:22:50.145" v="5991"/>
          <ac:picMkLst>
            <pc:docMk/>
            <pc:sldMk cId="1303585" sldId="259"/>
            <ac:picMk id="13" creationId="{2AED3B26-2EE3-A154-5C09-2BFE8AC4190B}"/>
          </ac:picMkLst>
        </pc:picChg>
        <pc:picChg chg="mod">
          <ac:chgData name="Paul Jordan" userId="ed43b065-ed91-4d94-a70c-3ec7c0759f23" providerId="ADAL" clId="{2C32DC77-3316-5A44-99F4-3731869D0700}" dt="2023-01-20T01:01:15.125" v="10223"/>
          <ac:picMkLst>
            <pc:docMk/>
            <pc:sldMk cId="1303585" sldId="259"/>
            <ac:picMk id="15" creationId="{6CB62DC0-0F75-FF97-B41B-71B92FBD3BC0}"/>
          </ac:picMkLst>
        </pc:picChg>
        <pc:picChg chg="mod">
          <ac:chgData name="Paul Jordan" userId="ed43b065-ed91-4d94-a70c-3ec7c0759f23" providerId="ADAL" clId="{2C32DC77-3316-5A44-99F4-3731869D0700}" dt="2023-01-18T23:15:16.978" v="5510"/>
          <ac:picMkLst>
            <pc:docMk/>
            <pc:sldMk cId="1303585" sldId="259"/>
            <ac:picMk id="16" creationId="{0D7F917D-C8BB-5312-B368-309931873E94}"/>
          </ac:picMkLst>
        </pc:picChg>
        <pc:picChg chg="mod">
          <ac:chgData name="Paul Jordan" userId="ed43b065-ed91-4d94-a70c-3ec7c0759f23" providerId="ADAL" clId="{2C32DC77-3316-5A44-99F4-3731869D0700}" dt="2023-01-20T01:01:15.153" v="10227"/>
          <ac:picMkLst>
            <pc:docMk/>
            <pc:sldMk cId="1303585" sldId="259"/>
            <ac:picMk id="18" creationId="{4832512E-39F4-C9B9-3628-1E9B87DC114C}"/>
          </ac:picMkLst>
        </pc:picChg>
        <pc:picChg chg="mod">
          <ac:chgData name="Paul Jordan" userId="ed43b065-ed91-4d94-a70c-3ec7c0759f23" providerId="ADAL" clId="{2C32DC77-3316-5A44-99F4-3731869D0700}" dt="2023-01-20T01:01:15.179" v="10231"/>
          <ac:picMkLst>
            <pc:docMk/>
            <pc:sldMk cId="1303585" sldId="259"/>
            <ac:picMk id="21" creationId="{4EFD8910-0B03-E592-22AB-497C11BE604B}"/>
          </ac:picMkLst>
        </pc:picChg>
        <pc:picChg chg="mod">
          <ac:chgData name="Paul Jordan" userId="ed43b065-ed91-4d94-a70c-3ec7c0759f23" providerId="ADAL" clId="{2C32DC77-3316-5A44-99F4-3731869D0700}" dt="2023-01-20T03:16:25.491" v="10365"/>
          <ac:picMkLst>
            <pc:docMk/>
            <pc:sldMk cId="1303585" sldId="259"/>
            <ac:picMk id="22" creationId="{127F2DB8-F0B6-1062-AC4D-7570A13C6D7D}"/>
          </ac:picMkLst>
        </pc:picChg>
        <pc:picChg chg="mod">
          <ac:chgData name="Paul Jordan" userId="ed43b065-ed91-4d94-a70c-3ec7c0759f23" providerId="ADAL" clId="{2C32DC77-3316-5A44-99F4-3731869D0700}" dt="2023-01-20T03:16:25.519" v="10369"/>
          <ac:picMkLst>
            <pc:docMk/>
            <pc:sldMk cId="1303585" sldId="259"/>
            <ac:picMk id="25" creationId="{A844FF9A-3511-7763-69A9-F4448E371094}"/>
          </ac:picMkLst>
        </pc:picChg>
        <pc:picChg chg="mod">
          <ac:chgData name="Paul Jordan" userId="ed43b065-ed91-4d94-a70c-3ec7c0759f23" providerId="ADAL" clId="{2C32DC77-3316-5A44-99F4-3731869D0700}" dt="2023-01-20T04:18:49.289" v="13337"/>
          <ac:picMkLst>
            <pc:docMk/>
            <pc:sldMk cId="1303585" sldId="259"/>
            <ac:picMk id="28" creationId="{6FCFDD9F-B8F8-82DF-71EC-399ED2C45429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30" creationId="{2F470354-657D-B4D6-53DB-B7A9D3F38A1E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31" creationId="{63BC9D52-5B82-1009-F8DC-1CABF29C2D2D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32" creationId="{DC9DDA0C-E003-A562-17BE-1FEE65BBE8EB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33" creationId="{8D843D4B-D2BC-3781-2DE3-B60E66622C1F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34" creationId="{83116B4E-4042-1C75-3B4C-BB8D19AACCE3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35" creationId="{F96EA891-D88C-A7BB-BD7E-565F36D54B33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36" creationId="{1228C388-2E4A-5CD2-2D8A-88C204335AF2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37" creationId="{6DFD3EF4-41A5-3ADA-50E0-98A73076230E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38" creationId="{FD1091FB-31F8-CB23-6749-06B5F5C8D5ED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39" creationId="{4CF1C317-483E-D8D0-52DB-05D8492569AF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40" creationId="{18BCBF86-183C-4392-782E-7A96C73270BE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41" creationId="{2932B937-07F2-3B94-E586-C9CC6093AF1B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42" creationId="{F9DC1349-11DF-39E9-9F8E-6E6C3C3EEB63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43" creationId="{6625DDD4-9106-D700-237C-F81EBAFFCB5A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44" creationId="{36A78386-2DCE-6FEF-EB66-72561BF8FFC5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45" creationId="{D893AD31-CC0A-2611-0D08-A7A2BEB13555}"/>
          </ac:picMkLst>
        </pc:picChg>
        <pc:picChg chg="mod">
          <ac:chgData name="Paul Jordan" userId="ed43b065-ed91-4d94-a70c-3ec7c0759f23" providerId="ADAL" clId="{2C32DC77-3316-5A44-99F4-3731869D0700}" dt="2023-01-18T23:22:52.187" v="6175"/>
          <ac:picMkLst>
            <pc:docMk/>
            <pc:sldMk cId="1303585" sldId="259"/>
            <ac:picMk id="148" creationId="{0CCFE2AF-2838-E96E-E7B6-4D10EB412373}"/>
          </ac:picMkLst>
        </pc:picChg>
        <pc:picChg chg="mod">
          <ac:chgData name="Paul Jordan" userId="ed43b065-ed91-4d94-a70c-3ec7c0759f23" providerId="ADAL" clId="{2C32DC77-3316-5A44-99F4-3731869D0700}" dt="2023-01-18T23:22:52.333" v="6179"/>
          <ac:picMkLst>
            <pc:docMk/>
            <pc:sldMk cId="1303585" sldId="259"/>
            <ac:picMk id="151" creationId="{3C75A72A-9F1D-896E-A4F2-75E2C04626BF}"/>
          </ac:picMkLst>
        </pc:picChg>
        <pc:picChg chg="mod">
          <ac:chgData name="Paul Jordan" userId="ed43b065-ed91-4d94-a70c-3ec7c0759f23" providerId="ADAL" clId="{2C32DC77-3316-5A44-99F4-3731869D0700}" dt="2023-01-18T23:22:52.441" v="6183"/>
          <ac:picMkLst>
            <pc:docMk/>
            <pc:sldMk cId="1303585" sldId="259"/>
            <ac:picMk id="154" creationId="{EA45C8DE-AA2D-7CBA-ADDB-D48DCA2E0437}"/>
          </ac:picMkLst>
        </pc:picChg>
        <pc:picChg chg="mod">
          <ac:chgData name="Paul Jordan" userId="ed43b065-ed91-4d94-a70c-3ec7c0759f23" providerId="ADAL" clId="{2C32DC77-3316-5A44-99F4-3731869D0700}" dt="2023-01-18T23:22:52.715" v="6187"/>
          <ac:picMkLst>
            <pc:docMk/>
            <pc:sldMk cId="1303585" sldId="259"/>
            <ac:picMk id="157" creationId="{F282102E-25AB-1B4B-F234-02B880663515}"/>
          </ac:picMkLst>
        </pc:picChg>
        <pc:picChg chg="mod">
          <ac:chgData name="Paul Jordan" userId="ed43b065-ed91-4d94-a70c-3ec7c0759f23" providerId="ADAL" clId="{2C32DC77-3316-5A44-99F4-3731869D0700}" dt="2023-01-18T23:15:28.804" v="5518"/>
          <ac:picMkLst>
            <pc:docMk/>
            <pc:sldMk cId="1303585" sldId="259"/>
            <ac:picMk id="160" creationId="{83DE319A-F38C-137E-C825-7211390DF786}"/>
          </ac:picMkLst>
        </pc:picChg>
        <pc:picChg chg="mod">
          <ac:chgData name="Paul Jordan" userId="ed43b065-ed91-4d94-a70c-3ec7c0759f23" providerId="ADAL" clId="{2C32DC77-3316-5A44-99F4-3731869D0700}" dt="2023-01-18T23:22:52.854" v="6191"/>
          <ac:picMkLst>
            <pc:docMk/>
            <pc:sldMk cId="1303585" sldId="259"/>
            <ac:picMk id="163" creationId="{BD5BEB8A-0B49-33C6-DDF6-F2044EB9FB43}"/>
          </ac:picMkLst>
        </pc:picChg>
        <pc:picChg chg="mod">
          <ac:chgData name="Paul Jordan" userId="ed43b065-ed91-4d94-a70c-3ec7c0759f23" providerId="ADAL" clId="{2C32DC77-3316-5A44-99F4-3731869D0700}" dt="2023-01-18T23:22:53.021" v="6195"/>
          <ac:picMkLst>
            <pc:docMk/>
            <pc:sldMk cId="1303585" sldId="259"/>
            <ac:picMk id="166" creationId="{E8C94E6B-DD94-7501-2FAC-10D4299C6AEA}"/>
          </ac:picMkLst>
        </pc:picChg>
        <pc:picChg chg="mod">
          <ac:chgData name="Paul Jordan" userId="ed43b065-ed91-4d94-a70c-3ec7c0759f23" providerId="ADAL" clId="{2C32DC77-3316-5A44-99F4-3731869D0700}" dt="2023-01-18T23:22:53.175" v="6199"/>
          <ac:picMkLst>
            <pc:docMk/>
            <pc:sldMk cId="1303585" sldId="259"/>
            <ac:picMk id="169" creationId="{03644A6F-D570-8DEB-3A24-692397624AB4}"/>
          </ac:picMkLst>
        </pc:picChg>
        <pc:picChg chg="mod">
          <ac:chgData name="Paul Jordan" userId="ed43b065-ed91-4d94-a70c-3ec7c0759f23" providerId="ADAL" clId="{2C32DC77-3316-5A44-99F4-3731869D0700}" dt="2023-01-18T23:16:11.274" v="5784"/>
          <ac:picMkLst>
            <pc:docMk/>
            <pc:sldMk cId="1303585" sldId="259"/>
            <ac:picMk id="172" creationId="{883D5667-487B-596D-9AA2-7E4C45C77F88}"/>
          </ac:picMkLst>
        </pc:picChg>
        <pc:picChg chg="mod">
          <ac:chgData name="Paul Jordan" userId="ed43b065-ed91-4d94-a70c-3ec7c0759f23" providerId="ADAL" clId="{2C32DC77-3316-5A44-99F4-3731869D0700}" dt="2023-01-18T23:22:53.367" v="6203"/>
          <ac:picMkLst>
            <pc:docMk/>
            <pc:sldMk cId="1303585" sldId="259"/>
            <ac:picMk id="175" creationId="{10CBE4D6-09EC-DEF1-CDA9-9B8082BF8E1E}"/>
          </ac:picMkLst>
        </pc:picChg>
        <pc:picChg chg="mod">
          <ac:chgData name="Paul Jordan" userId="ed43b065-ed91-4d94-a70c-3ec7c0759f23" providerId="ADAL" clId="{2C32DC77-3316-5A44-99F4-3731869D0700}" dt="2023-01-18T23:22:53.476" v="6207"/>
          <ac:picMkLst>
            <pc:docMk/>
            <pc:sldMk cId="1303585" sldId="259"/>
            <ac:picMk id="178" creationId="{844911BF-7E0D-EBCA-4C1E-12760B0EA482}"/>
          </ac:picMkLst>
        </pc:picChg>
        <pc:picChg chg="mod">
          <ac:chgData name="Paul Jordan" userId="ed43b065-ed91-4d94-a70c-3ec7c0759f23" providerId="ADAL" clId="{2C32DC77-3316-5A44-99F4-3731869D0700}" dt="2023-01-18T23:22:53.634" v="6211"/>
          <ac:picMkLst>
            <pc:docMk/>
            <pc:sldMk cId="1303585" sldId="259"/>
            <ac:picMk id="181" creationId="{95C2BF44-EB72-D563-0F0E-2DC9CE917911}"/>
          </ac:picMkLst>
        </pc:picChg>
        <pc:picChg chg="mod">
          <ac:chgData name="Paul Jordan" userId="ed43b065-ed91-4d94-a70c-3ec7c0759f23" providerId="ADAL" clId="{2C32DC77-3316-5A44-99F4-3731869D0700}" dt="2023-01-18T23:22:53.787" v="6215"/>
          <ac:picMkLst>
            <pc:docMk/>
            <pc:sldMk cId="1303585" sldId="259"/>
            <ac:picMk id="184" creationId="{660BE33F-B6A5-592F-24B1-74CB5AFA20D4}"/>
          </ac:picMkLst>
        </pc:picChg>
        <pc:picChg chg="mod">
          <ac:chgData name="Paul Jordan" userId="ed43b065-ed91-4d94-a70c-3ec7c0759f23" providerId="ADAL" clId="{2C32DC77-3316-5A44-99F4-3731869D0700}" dt="2023-01-18T23:22:53.940" v="6219"/>
          <ac:picMkLst>
            <pc:docMk/>
            <pc:sldMk cId="1303585" sldId="259"/>
            <ac:picMk id="187" creationId="{9FE8247A-E8FB-FE55-F557-9D386F9FD59F}"/>
          </ac:picMkLst>
        </pc:picChg>
        <pc:picChg chg="mod">
          <ac:chgData name="Paul Jordan" userId="ed43b065-ed91-4d94-a70c-3ec7c0759f23" providerId="ADAL" clId="{2C32DC77-3316-5A44-99F4-3731869D0700}" dt="2023-01-18T23:22:54.109" v="6223"/>
          <ac:picMkLst>
            <pc:docMk/>
            <pc:sldMk cId="1303585" sldId="259"/>
            <ac:picMk id="190" creationId="{FC1388EA-107D-2A24-9F92-CC8A23A540C1}"/>
          </ac:picMkLst>
        </pc:picChg>
        <pc:picChg chg="mod">
          <ac:chgData name="Paul Jordan" userId="ed43b065-ed91-4d94-a70c-3ec7c0759f23" providerId="ADAL" clId="{2C32DC77-3316-5A44-99F4-3731869D0700}" dt="2023-01-18T23:22:54.239" v="6227"/>
          <ac:picMkLst>
            <pc:docMk/>
            <pc:sldMk cId="1303585" sldId="259"/>
            <ac:picMk id="1025" creationId="{A34BE24A-0A9D-D6E8-5044-BF3689056048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026" creationId="{AC39E6CA-B8E6-E7D9-16BC-ACD9E3573BC9}"/>
          </ac:picMkLst>
        </pc:picChg>
        <pc:picChg chg="add del mod">
          <ac:chgData name="Paul Jordan" userId="ed43b065-ed91-4d94-a70c-3ec7c0759f23" providerId="ADAL" clId="{2C32DC77-3316-5A44-99F4-3731869D0700}" dt="2023-01-18T23:23:39.059" v="6240" actId="478"/>
          <ac:picMkLst>
            <pc:docMk/>
            <pc:sldMk cId="1303585" sldId="259"/>
            <ac:picMk id="1028" creationId="{77C27538-5F44-4B11-85EC-868256E28E5E}"/>
          </ac:picMkLst>
        </pc:picChg>
        <pc:picChg chg="mod">
          <ac:chgData name="Paul Jordan" userId="ed43b065-ed91-4d94-a70c-3ec7c0759f23" providerId="ADAL" clId="{2C32DC77-3316-5A44-99F4-3731869D0700}" dt="2023-01-18T23:22:54.328" v="6231"/>
          <ac:picMkLst>
            <pc:docMk/>
            <pc:sldMk cId="1303585" sldId="259"/>
            <ac:picMk id="1030" creationId="{3E30FB08-461B-02BD-CD00-BE215E7F8A25}"/>
          </ac:picMkLst>
        </pc:picChg>
        <pc:picChg chg="mod">
          <ac:chgData name="Paul Jordan" userId="ed43b065-ed91-4d94-a70c-3ec7c0759f23" providerId="ADAL" clId="{2C32DC77-3316-5A44-99F4-3731869D0700}" dt="2023-01-18T23:22:54.475" v="6235"/>
          <ac:picMkLst>
            <pc:docMk/>
            <pc:sldMk cId="1303585" sldId="259"/>
            <ac:picMk id="1033" creationId="{39B13C78-7473-9DFF-484C-A16FE7289865}"/>
          </ac:picMkLst>
        </pc:picChg>
        <pc:picChg chg="mod">
          <ac:chgData name="Paul Jordan" userId="ed43b065-ed91-4d94-a70c-3ec7c0759f23" providerId="ADAL" clId="{2C32DC77-3316-5A44-99F4-3731869D0700}" dt="2023-01-18T23:22:54.606" v="6239"/>
          <ac:picMkLst>
            <pc:docMk/>
            <pc:sldMk cId="1303585" sldId="259"/>
            <ac:picMk id="1036" creationId="{D4AB7DBC-D72B-B261-DBCB-84E8BB028AD1}"/>
          </ac:picMkLst>
        </pc:picChg>
        <pc:picChg chg="mod">
          <ac:chgData name="Paul Jordan" userId="ed43b065-ed91-4d94-a70c-3ec7c0759f23" providerId="ADAL" clId="{2C32DC77-3316-5A44-99F4-3731869D0700}" dt="2023-01-20T01:01:14.707" v="10163"/>
          <ac:picMkLst>
            <pc:docMk/>
            <pc:sldMk cId="1303585" sldId="259"/>
            <ac:picMk id="1039" creationId="{DCCB6ED3-2C1A-DAB9-01DD-205F9751D2CF}"/>
          </ac:picMkLst>
        </pc:picChg>
        <pc:picChg chg="add del mod">
          <ac:chgData name="Paul Jordan" userId="ed43b065-ed91-4d94-a70c-3ec7c0759f23" providerId="ADAL" clId="{2C32DC77-3316-5A44-99F4-3731869D0700}" dt="2023-01-20T04:20:51.315" v="13358" actId="478"/>
          <ac:picMkLst>
            <pc:docMk/>
            <pc:sldMk cId="1303585" sldId="259"/>
            <ac:picMk id="1114" creationId="{4781A8BA-8FD4-156E-9B9D-A92CF5B5F490}"/>
          </ac:picMkLst>
        </pc:picChg>
        <pc:picChg chg="add mod">
          <ac:chgData name="Paul Jordan" userId="ed43b065-ed91-4d94-a70c-3ec7c0759f23" providerId="ADAL" clId="{2C32DC77-3316-5A44-99F4-3731869D0700}" dt="2023-01-20T04:21:23.183" v="13377" actId="1038"/>
          <ac:picMkLst>
            <pc:docMk/>
            <pc:sldMk cId="1303585" sldId="259"/>
            <ac:picMk id="1115" creationId="{065445D7-7C8C-6D2F-60D7-A770214BB6D6}"/>
          </ac:picMkLst>
        </pc:picChg>
        <pc:picChg chg="add del mod">
          <ac:chgData name="Paul Jordan" userId="ed43b065-ed91-4d94-a70c-3ec7c0759f23" providerId="ADAL" clId="{2C32DC77-3316-5A44-99F4-3731869D0700}" dt="2023-01-20T04:20:51.315" v="13358" actId="478"/>
          <ac:picMkLst>
            <pc:docMk/>
            <pc:sldMk cId="1303585" sldId="259"/>
            <ac:picMk id="1116" creationId="{AB9C7D20-BE4F-032F-3D40-72F1516D321D}"/>
          </ac:picMkLst>
        </pc:picChg>
        <pc:picChg chg="add del mod">
          <ac:chgData name="Paul Jordan" userId="ed43b065-ed91-4d94-a70c-3ec7c0759f23" providerId="ADAL" clId="{2C32DC77-3316-5A44-99F4-3731869D0700}" dt="2023-01-20T04:20:51.315" v="13358" actId="478"/>
          <ac:picMkLst>
            <pc:docMk/>
            <pc:sldMk cId="1303585" sldId="259"/>
            <ac:picMk id="1117" creationId="{2D9CA4B8-CA63-1180-9605-612E83C967CD}"/>
          </ac:picMkLst>
        </pc:picChg>
        <pc:picChg chg="add del mod">
          <ac:chgData name="Paul Jordan" userId="ed43b065-ed91-4d94-a70c-3ec7c0759f23" providerId="ADAL" clId="{2C32DC77-3316-5A44-99F4-3731869D0700}" dt="2023-01-20T04:20:51.315" v="13358" actId="478"/>
          <ac:picMkLst>
            <pc:docMk/>
            <pc:sldMk cId="1303585" sldId="259"/>
            <ac:picMk id="1118" creationId="{57D127F2-9779-9296-CE21-C040632CC5B5}"/>
          </ac:picMkLst>
        </pc:picChg>
        <pc:picChg chg="add del mod">
          <ac:chgData name="Paul Jordan" userId="ed43b065-ed91-4d94-a70c-3ec7c0759f23" providerId="ADAL" clId="{2C32DC77-3316-5A44-99F4-3731869D0700}" dt="2023-01-20T04:20:51.315" v="13358" actId="478"/>
          <ac:picMkLst>
            <pc:docMk/>
            <pc:sldMk cId="1303585" sldId="259"/>
            <ac:picMk id="1119" creationId="{518CB793-171E-762A-50C1-9B2E691E51B5}"/>
          </ac:picMkLst>
        </pc:picChg>
        <pc:picChg chg="add del mod">
          <ac:chgData name="Paul Jordan" userId="ed43b065-ed91-4d94-a70c-3ec7c0759f23" providerId="ADAL" clId="{2C32DC77-3316-5A44-99F4-3731869D0700}" dt="2023-01-20T04:20:51.315" v="13358" actId="478"/>
          <ac:picMkLst>
            <pc:docMk/>
            <pc:sldMk cId="1303585" sldId="259"/>
            <ac:picMk id="1120" creationId="{5DBDDA0B-1D1B-D743-C02D-9A99D189951E}"/>
          </ac:picMkLst>
        </pc:picChg>
        <pc:picChg chg="add del mod">
          <ac:chgData name="Paul Jordan" userId="ed43b065-ed91-4d94-a70c-3ec7c0759f23" providerId="ADAL" clId="{2C32DC77-3316-5A44-99F4-3731869D0700}" dt="2023-01-20T04:20:51.315" v="13358" actId="478"/>
          <ac:picMkLst>
            <pc:docMk/>
            <pc:sldMk cId="1303585" sldId="259"/>
            <ac:picMk id="1121" creationId="{6B26222E-9C91-33DC-2ACC-F1D4DFC3188D}"/>
          </ac:picMkLst>
        </pc:picChg>
        <pc:picChg chg="add del mod">
          <ac:chgData name="Paul Jordan" userId="ed43b065-ed91-4d94-a70c-3ec7c0759f23" providerId="ADAL" clId="{2C32DC77-3316-5A44-99F4-3731869D0700}" dt="2023-01-20T04:20:51.315" v="13358" actId="478"/>
          <ac:picMkLst>
            <pc:docMk/>
            <pc:sldMk cId="1303585" sldId="259"/>
            <ac:picMk id="1122" creationId="{A4EAFAA0-AB40-A48C-176C-2D29B3C1CD50}"/>
          </ac:picMkLst>
        </pc:picChg>
        <pc:picChg chg="add del mod">
          <ac:chgData name="Paul Jordan" userId="ed43b065-ed91-4d94-a70c-3ec7c0759f23" providerId="ADAL" clId="{2C32DC77-3316-5A44-99F4-3731869D0700}" dt="2023-01-20T04:20:51.315" v="13358" actId="478"/>
          <ac:picMkLst>
            <pc:docMk/>
            <pc:sldMk cId="1303585" sldId="259"/>
            <ac:picMk id="1123" creationId="{44EF49D0-BF69-B489-8F6F-07DE06502F6F}"/>
          </ac:picMkLst>
        </pc:picChg>
        <pc:picChg chg="add mod">
          <ac:chgData name="Paul Jordan" userId="ed43b065-ed91-4d94-a70c-3ec7c0759f23" providerId="ADAL" clId="{2C32DC77-3316-5A44-99F4-3731869D0700}" dt="2023-01-20T04:21:23.183" v="13377" actId="1038"/>
          <ac:picMkLst>
            <pc:docMk/>
            <pc:sldMk cId="1303585" sldId="259"/>
            <ac:picMk id="1124" creationId="{BB06BC38-ABA0-A93A-19C8-CBAFAD851A50}"/>
          </ac:picMkLst>
        </pc:picChg>
        <pc:picChg chg="add del mod">
          <ac:chgData name="Paul Jordan" userId="ed43b065-ed91-4d94-a70c-3ec7c0759f23" providerId="ADAL" clId="{2C32DC77-3316-5A44-99F4-3731869D0700}" dt="2023-01-20T04:20:40.823" v="13354" actId="478"/>
          <ac:picMkLst>
            <pc:docMk/>
            <pc:sldMk cId="1303585" sldId="259"/>
            <ac:picMk id="1125" creationId="{34B586B2-0DA1-F2B0-560D-7C59CB738C80}"/>
          </ac:picMkLst>
        </pc:picChg>
        <pc:picChg chg="add del mod">
          <ac:chgData name="Paul Jordan" userId="ed43b065-ed91-4d94-a70c-3ec7c0759f23" providerId="ADAL" clId="{2C32DC77-3316-5A44-99F4-3731869D0700}" dt="2023-01-20T04:20:40.823" v="13354" actId="478"/>
          <ac:picMkLst>
            <pc:docMk/>
            <pc:sldMk cId="1303585" sldId="259"/>
            <ac:picMk id="1126" creationId="{8B3BC5EB-8301-BEAB-2EEB-C2A6489035BE}"/>
          </ac:picMkLst>
        </pc:picChg>
        <pc:picChg chg="add del mod">
          <ac:chgData name="Paul Jordan" userId="ed43b065-ed91-4d94-a70c-3ec7c0759f23" providerId="ADAL" clId="{2C32DC77-3316-5A44-99F4-3731869D0700}" dt="2023-01-20T04:20:40.823" v="13354" actId="478"/>
          <ac:picMkLst>
            <pc:docMk/>
            <pc:sldMk cId="1303585" sldId="259"/>
            <ac:picMk id="1127" creationId="{417F7D25-E4BC-1959-D6E4-F1FC3689B553}"/>
          </ac:picMkLst>
        </pc:picChg>
        <pc:picChg chg="add del mod">
          <ac:chgData name="Paul Jordan" userId="ed43b065-ed91-4d94-a70c-3ec7c0759f23" providerId="ADAL" clId="{2C32DC77-3316-5A44-99F4-3731869D0700}" dt="2023-01-20T04:20:40.823" v="13354" actId="478"/>
          <ac:picMkLst>
            <pc:docMk/>
            <pc:sldMk cId="1303585" sldId="259"/>
            <ac:picMk id="1128" creationId="{D5DC64CF-784A-0E65-5774-C221F059D5F8}"/>
          </ac:picMkLst>
        </pc:picChg>
        <pc:picChg chg="add del mod">
          <ac:chgData name="Paul Jordan" userId="ed43b065-ed91-4d94-a70c-3ec7c0759f23" providerId="ADAL" clId="{2C32DC77-3316-5A44-99F4-3731869D0700}" dt="2023-01-20T04:20:40.823" v="13354" actId="478"/>
          <ac:picMkLst>
            <pc:docMk/>
            <pc:sldMk cId="1303585" sldId="259"/>
            <ac:picMk id="1129" creationId="{8BBB4403-E7F0-95C3-C3BC-AEEAC8F863F2}"/>
          </ac:picMkLst>
        </pc:picChg>
        <pc:picChg chg="add del mod">
          <ac:chgData name="Paul Jordan" userId="ed43b065-ed91-4d94-a70c-3ec7c0759f23" providerId="ADAL" clId="{2C32DC77-3316-5A44-99F4-3731869D0700}" dt="2023-01-20T04:20:40.823" v="13354" actId="478"/>
          <ac:picMkLst>
            <pc:docMk/>
            <pc:sldMk cId="1303585" sldId="259"/>
            <ac:picMk id="1130" creationId="{1E065B57-17EC-EBC6-0516-1B9F91B43CAE}"/>
          </ac:picMkLst>
        </pc:picChg>
        <pc:picChg chg="add del mod">
          <ac:chgData name="Paul Jordan" userId="ed43b065-ed91-4d94-a70c-3ec7c0759f23" providerId="ADAL" clId="{2C32DC77-3316-5A44-99F4-3731869D0700}" dt="2023-01-20T04:20:40.823" v="13354" actId="478"/>
          <ac:picMkLst>
            <pc:docMk/>
            <pc:sldMk cId="1303585" sldId="259"/>
            <ac:picMk id="1131" creationId="{D5701293-993F-80D2-374A-E85BFCFAA44C}"/>
          </ac:picMkLst>
        </pc:picChg>
        <pc:picChg chg="mod">
          <ac:chgData name="Paul Jordan" userId="ed43b065-ed91-4d94-a70c-3ec7c0759f23" providerId="ADAL" clId="{2C32DC77-3316-5A44-99F4-3731869D0700}" dt="2023-01-20T01:01:14.735" v="10167"/>
          <ac:picMkLst>
            <pc:docMk/>
            <pc:sldMk cId="1303585" sldId="259"/>
            <ac:picMk id="1134" creationId="{3DF7C23E-FCAF-B5DC-B5F4-30A65F0AA85F}"/>
          </ac:picMkLst>
        </pc:picChg>
        <pc:picChg chg="mod">
          <ac:chgData name="Paul Jordan" userId="ed43b065-ed91-4d94-a70c-3ec7c0759f23" providerId="ADAL" clId="{2C32DC77-3316-5A44-99F4-3731869D0700}" dt="2023-01-18T23:25:50.533" v="6455"/>
          <ac:picMkLst>
            <pc:docMk/>
            <pc:sldMk cId="1303585" sldId="259"/>
            <ac:picMk id="1137" creationId="{43281D0A-6F9B-527A-082B-5D9B40122468}"/>
          </ac:picMkLst>
        </pc:picChg>
        <pc:picChg chg="mod">
          <ac:chgData name="Paul Jordan" userId="ed43b065-ed91-4d94-a70c-3ec7c0759f23" providerId="ADAL" clId="{2C32DC77-3316-5A44-99F4-3731869D0700}" dt="2023-01-18T23:25:50.779" v="6459"/>
          <ac:picMkLst>
            <pc:docMk/>
            <pc:sldMk cId="1303585" sldId="259"/>
            <ac:picMk id="1140" creationId="{16B14E83-9137-5CDA-43D4-55EA9D993C49}"/>
          </ac:picMkLst>
        </pc:picChg>
        <pc:picChg chg="mod">
          <ac:chgData name="Paul Jordan" userId="ed43b065-ed91-4d94-a70c-3ec7c0759f23" providerId="ADAL" clId="{2C32DC77-3316-5A44-99F4-3731869D0700}" dt="2023-01-20T01:01:14.762" v="10171"/>
          <ac:picMkLst>
            <pc:docMk/>
            <pc:sldMk cId="1303585" sldId="259"/>
            <ac:picMk id="1143" creationId="{CAE746EF-878F-EC8E-B834-AFFEFB77054D}"/>
          </ac:picMkLst>
        </pc:picChg>
        <pc:picChg chg="mod">
          <ac:chgData name="Paul Jordan" userId="ed43b065-ed91-4d94-a70c-3ec7c0759f23" providerId="ADAL" clId="{2C32DC77-3316-5A44-99F4-3731869D0700}" dt="2023-01-20T01:01:14.788" v="10175"/>
          <ac:picMkLst>
            <pc:docMk/>
            <pc:sldMk cId="1303585" sldId="259"/>
            <ac:picMk id="1146" creationId="{FF8507DA-3BE2-98B4-2700-23032D23D77C}"/>
          </ac:picMkLst>
        </pc:picChg>
        <pc:picChg chg="mod">
          <ac:chgData name="Paul Jordan" userId="ed43b065-ed91-4d94-a70c-3ec7c0759f23" providerId="ADAL" clId="{2C32DC77-3316-5A44-99F4-3731869D0700}" dt="2023-01-20T01:01:14.818" v="10179"/>
          <ac:picMkLst>
            <pc:docMk/>
            <pc:sldMk cId="1303585" sldId="259"/>
            <ac:picMk id="1149" creationId="{165E661D-414E-5DD5-FD1A-A1BDDAFFEBD5}"/>
          </ac:picMkLst>
        </pc:picChg>
        <pc:picChg chg="mod">
          <ac:chgData name="Paul Jordan" userId="ed43b065-ed91-4d94-a70c-3ec7c0759f23" providerId="ADAL" clId="{2C32DC77-3316-5A44-99F4-3731869D0700}" dt="2023-01-20T01:01:14.849" v="10183"/>
          <ac:picMkLst>
            <pc:docMk/>
            <pc:sldMk cId="1303585" sldId="259"/>
            <ac:picMk id="1152" creationId="{B1B39ACD-9CD5-8D19-DED0-C22957974038}"/>
          </ac:picMkLst>
        </pc:picChg>
        <pc:picChg chg="mod">
          <ac:chgData name="Paul Jordan" userId="ed43b065-ed91-4d94-a70c-3ec7c0759f23" providerId="ADAL" clId="{2C32DC77-3316-5A44-99F4-3731869D0700}" dt="2023-01-18T23:23:41.687" v="6241"/>
          <ac:picMkLst>
            <pc:docMk/>
            <pc:sldMk cId="1303585" sldId="259"/>
            <ac:picMk id="1155" creationId="{FF191330-3716-C5D7-59D5-B85ED1FA717B}"/>
          </ac:picMkLst>
        </pc:picChg>
        <pc:picChg chg="mod">
          <ac:chgData name="Paul Jordan" userId="ed43b065-ed91-4d94-a70c-3ec7c0759f23" providerId="ADAL" clId="{2C32DC77-3316-5A44-99F4-3731869D0700}" dt="2023-01-18T23:25:51.770" v="6479"/>
          <ac:picMkLst>
            <pc:docMk/>
            <pc:sldMk cId="1303585" sldId="259"/>
            <ac:picMk id="1158" creationId="{AD6BADE4-BD75-567B-B825-703F9746F570}"/>
          </ac:picMkLst>
        </pc:picChg>
        <pc:picChg chg="mod">
          <ac:chgData name="Paul Jordan" userId="ed43b065-ed91-4d94-a70c-3ec7c0759f23" providerId="ADAL" clId="{2C32DC77-3316-5A44-99F4-3731869D0700}" dt="2023-01-20T01:01:14.875" v="10187"/>
          <ac:picMkLst>
            <pc:docMk/>
            <pc:sldMk cId="1303585" sldId="259"/>
            <ac:picMk id="1161" creationId="{14C26BB8-196E-17FA-A15A-50F536EDDFAC}"/>
          </ac:picMkLst>
        </pc:picChg>
        <pc:picChg chg="mod">
          <ac:chgData name="Paul Jordan" userId="ed43b065-ed91-4d94-a70c-3ec7c0759f23" providerId="ADAL" clId="{2C32DC77-3316-5A44-99F4-3731869D0700}" dt="2023-01-20T03:16:25.318" v="10341"/>
          <ac:picMkLst>
            <pc:docMk/>
            <pc:sldMk cId="1303585" sldId="259"/>
            <ac:picMk id="1164" creationId="{BC6A3675-FD7F-2C0F-F89D-68941CC35C78}"/>
          </ac:picMkLst>
        </pc:picChg>
        <pc:picChg chg="mod">
          <ac:chgData name="Paul Jordan" userId="ed43b065-ed91-4d94-a70c-3ec7c0759f23" providerId="ADAL" clId="{2C32DC77-3316-5A44-99F4-3731869D0700}" dt="2023-01-20T01:01:14.929" v="10195"/>
          <ac:picMkLst>
            <pc:docMk/>
            <pc:sldMk cId="1303585" sldId="259"/>
            <ac:picMk id="1167" creationId="{4447147F-7E60-7F98-4923-67C508A68E4D}"/>
          </ac:picMkLst>
        </pc:picChg>
        <pc:picChg chg="mod">
          <ac:chgData name="Paul Jordan" userId="ed43b065-ed91-4d94-a70c-3ec7c0759f23" providerId="ADAL" clId="{2C32DC77-3316-5A44-99F4-3731869D0700}" dt="2023-01-20T03:16:25.343" v="10345"/>
          <ac:picMkLst>
            <pc:docMk/>
            <pc:sldMk cId="1303585" sldId="259"/>
            <ac:picMk id="1170" creationId="{87E7A70B-7EFA-119D-947D-44CEE97FE9FE}"/>
          </ac:picMkLst>
        </pc:picChg>
        <pc:picChg chg="mod">
          <ac:chgData name="Paul Jordan" userId="ed43b065-ed91-4d94-a70c-3ec7c0759f23" providerId="ADAL" clId="{2C32DC77-3316-5A44-99F4-3731869D0700}" dt="2023-01-20T03:16:25.369" v="10349"/>
          <ac:picMkLst>
            <pc:docMk/>
            <pc:sldMk cId="1303585" sldId="259"/>
            <ac:picMk id="1173" creationId="{76C69588-8432-6238-F244-DE9B4BBA7A64}"/>
          </ac:picMkLst>
        </pc:picChg>
        <pc:picChg chg="mod">
          <ac:chgData name="Paul Jordan" userId="ed43b065-ed91-4d94-a70c-3ec7c0759f23" providerId="ADAL" clId="{2C32DC77-3316-5A44-99F4-3731869D0700}" dt="2023-01-20T03:16:25.396" v="10353"/>
          <ac:picMkLst>
            <pc:docMk/>
            <pc:sldMk cId="1303585" sldId="259"/>
            <ac:picMk id="1176" creationId="{0918EAC8-1DC5-0ECE-ADEE-B9FCEFC78358}"/>
          </ac:picMkLst>
        </pc:picChg>
        <pc:picChg chg="mod">
          <ac:chgData name="Paul Jordan" userId="ed43b065-ed91-4d94-a70c-3ec7c0759f23" providerId="ADAL" clId="{2C32DC77-3316-5A44-99F4-3731869D0700}" dt="2023-01-20T03:16:25.424" v="10357"/>
          <ac:picMkLst>
            <pc:docMk/>
            <pc:sldMk cId="1303585" sldId="259"/>
            <ac:picMk id="1179" creationId="{709EE876-6A6F-8006-A06A-E4E256840628}"/>
          </ac:picMkLst>
        </pc:picChg>
        <pc:picChg chg="mod">
          <ac:chgData name="Paul Jordan" userId="ed43b065-ed91-4d94-a70c-3ec7c0759f23" providerId="ADAL" clId="{2C32DC77-3316-5A44-99F4-3731869D0700}" dt="2023-01-20T03:16:25.463" v="10361"/>
          <ac:picMkLst>
            <pc:docMk/>
            <pc:sldMk cId="1303585" sldId="259"/>
            <ac:picMk id="1182" creationId="{A23B7B3B-9B46-35CD-E314-D5B01BA0C4B2}"/>
          </ac:picMkLst>
        </pc:picChg>
        <pc:picChg chg="mod">
          <ac:chgData name="Paul Jordan" userId="ed43b065-ed91-4d94-a70c-3ec7c0759f23" providerId="ADAL" clId="{2C32DC77-3316-5A44-99F4-3731869D0700}" dt="2023-01-18T23:25:53.189" v="6515"/>
          <ac:picMkLst>
            <pc:docMk/>
            <pc:sldMk cId="1303585" sldId="259"/>
            <ac:picMk id="1185" creationId="{BA3DBB86-C879-724B-EFD3-A37632992D47}"/>
          </ac:picMkLst>
        </pc:picChg>
        <pc:cxnChg chg="add mod">
          <ac:chgData name="Paul Jordan" userId="ed43b065-ed91-4d94-a70c-3ec7c0759f23" providerId="ADAL" clId="{2C32DC77-3316-5A44-99F4-3731869D0700}" dt="2023-01-18T23:32:02.703" v="6800" actId="408"/>
          <ac:cxnSpMkLst>
            <pc:docMk/>
            <pc:sldMk cId="1303585" sldId="259"/>
            <ac:cxnSpMk id="1186" creationId="{3A7E561A-1EE6-F528-2931-A3034EBD2F73}"/>
          </ac:cxnSpMkLst>
        </pc:cxnChg>
        <pc:cxnChg chg="add mod">
          <ac:chgData name="Paul Jordan" userId="ed43b065-ed91-4d94-a70c-3ec7c0759f23" providerId="ADAL" clId="{2C32DC77-3316-5A44-99F4-3731869D0700}" dt="2023-01-18T23:32:02.703" v="6800" actId="408"/>
          <ac:cxnSpMkLst>
            <pc:docMk/>
            <pc:sldMk cId="1303585" sldId="259"/>
            <ac:cxnSpMk id="1190" creationId="{0ADB8FE9-874A-86DB-91D5-0EEACBD074E6}"/>
          </ac:cxnSpMkLst>
        </pc:cxnChg>
        <pc:cxnChg chg="add del mod">
          <ac:chgData name="Paul Jordan" userId="ed43b065-ed91-4d94-a70c-3ec7c0759f23" providerId="ADAL" clId="{2C32DC77-3316-5A44-99F4-3731869D0700}" dt="2023-01-18T23:32:05.138" v="6801" actId="478"/>
          <ac:cxnSpMkLst>
            <pc:docMk/>
            <pc:sldMk cId="1303585" sldId="259"/>
            <ac:cxnSpMk id="1191" creationId="{D1E0C21C-9ADF-692E-210B-94477A3E371B}"/>
          </ac:cxnSpMkLst>
        </pc:cxnChg>
      </pc:sldChg>
      <pc:sldChg chg="addSp delSp modSp add mod">
        <pc:chgData name="Paul Jordan" userId="ed43b065-ed91-4d94-a70c-3ec7c0759f23" providerId="ADAL" clId="{2C32DC77-3316-5A44-99F4-3731869D0700}" dt="2023-01-19T17:33:48.345" v="9002"/>
        <pc:sldMkLst>
          <pc:docMk/>
          <pc:sldMk cId="1610884881" sldId="260"/>
        </pc:sldMkLst>
        <pc:spChg chg="mod">
          <ac:chgData name="Paul Jordan" userId="ed43b065-ed91-4d94-a70c-3ec7c0759f23" providerId="ADAL" clId="{2C32DC77-3316-5A44-99F4-3731869D0700}" dt="2023-01-19T17:32:26.251" v="8947"/>
          <ac:spMkLst>
            <pc:docMk/>
            <pc:sldMk cId="1610884881" sldId="260"/>
            <ac:spMk id="2" creationId="{0FCA8915-49F5-B0A7-3E79-B63CE49D5147}"/>
          </ac:spMkLst>
        </pc:spChg>
        <pc:spChg chg="mod">
          <ac:chgData name="Paul Jordan" userId="ed43b065-ed91-4d94-a70c-3ec7c0759f23" providerId="ADAL" clId="{2C32DC77-3316-5A44-99F4-3731869D0700}" dt="2023-01-19T17:32:26.252" v="8948"/>
          <ac:spMkLst>
            <pc:docMk/>
            <pc:sldMk cId="1610884881" sldId="260"/>
            <ac:spMk id="3" creationId="{7F7F7694-9F2E-418D-9BB3-EE5CEB834DC2}"/>
          </ac:spMkLst>
        </pc:spChg>
        <pc:spChg chg="mod">
          <ac:chgData name="Paul Jordan" userId="ed43b065-ed91-4d94-a70c-3ec7c0759f23" providerId="ADAL" clId="{2C32DC77-3316-5A44-99F4-3731869D0700}" dt="2023-01-19T17:32:26.252" v="8949"/>
          <ac:spMkLst>
            <pc:docMk/>
            <pc:sldMk cId="1610884881" sldId="260"/>
            <ac:spMk id="4" creationId="{6A047E8C-A273-5F9A-E1E5-02AF9B75C7FA}"/>
          </ac:spMkLst>
        </pc:spChg>
        <pc:spChg chg="add mod">
          <ac:chgData name="Paul Jordan" userId="ed43b065-ed91-4d94-a70c-3ec7c0759f23" providerId="ADAL" clId="{2C32DC77-3316-5A44-99F4-3731869D0700}" dt="2023-01-19T17:33:07.526" v="9000" actId="121"/>
          <ac:spMkLst>
            <pc:docMk/>
            <pc:sldMk cId="1610884881" sldId="260"/>
            <ac:spMk id="6" creationId="{FC427F91-FBFC-227D-69DA-4EC4C96F7A7F}"/>
          </ac:spMkLst>
        </pc:spChg>
        <pc:spChg chg="add del mod">
          <ac:chgData name="Paul Jordan" userId="ed43b065-ed91-4d94-a70c-3ec7c0759f23" providerId="ADAL" clId="{2C32DC77-3316-5A44-99F4-3731869D0700}" dt="2023-01-19T17:33:05.244" v="8999" actId="478"/>
          <ac:spMkLst>
            <pc:docMk/>
            <pc:sldMk cId="1610884881" sldId="260"/>
            <ac:spMk id="7" creationId="{FCCF7C68-C76E-378A-FF17-ED6800F8AA68}"/>
          </ac:spMkLst>
        </pc:spChg>
        <pc:spChg chg="add mod">
          <ac:chgData name="Paul Jordan" userId="ed43b065-ed91-4d94-a70c-3ec7c0759f23" providerId="ADAL" clId="{2C32DC77-3316-5A44-99F4-3731869D0700}" dt="2023-01-19T17:33:27.418" v="9001"/>
          <ac:spMkLst>
            <pc:docMk/>
            <pc:sldMk cId="1610884881" sldId="260"/>
            <ac:spMk id="8" creationId="{C903E906-9394-58D8-051F-65BF0A5A06F4}"/>
          </ac:spMkLst>
        </pc:spChg>
        <pc:spChg chg="add mod">
          <ac:chgData name="Paul Jordan" userId="ed43b065-ed91-4d94-a70c-3ec7c0759f23" providerId="ADAL" clId="{2C32DC77-3316-5A44-99F4-3731869D0700}" dt="2023-01-19T17:33:27.418" v="9001"/>
          <ac:spMkLst>
            <pc:docMk/>
            <pc:sldMk cId="1610884881" sldId="260"/>
            <ac:spMk id="9" creationId="{8D579B7B-79D6-490B-8438-0569403A604F}"/>
          </ac:spMkLst>
        </pc:spChg>
        <pc:spChg chg="add mod">
          <ac:chgData name="Paul Jordan" userId="ed43b065-ed91-4d94-a70c-3ec7c0759f23" providerId="ADAL" clId="{2C32DC77-3316-5A44-99F4-3731869D0700}" dt="2023-01-19T17:33:27.418" v="9001"/>
          <ac:spMkLst>
            <pc:docMk/>
            <pc:sldMk cId="1610884881" sldId="260"/>
            <ac:spMk id="10" creationId="{8448D93E-45BE-940B-160D-EC43047E830F}"/>
          </ac:spMkLst>
        </pc:spChg>
        <pc:graphicFrameChg chg="add mod modVis replST">
          <ac:chgData name="Paul Jordan" userId="ed43b065-ed91-4d94-a70c-3ec7c0759f23" providerId="ADAL" clId="{2C32DC77-3316-5A44-99F4-3731869D0700}" dt="2023-01-19T17:32:26.254" v="8954"/>
          <ac:graphicFrameMkLst>
            <pc:docMk/>
            <pc:sldMk cId="1610884881" sldId="260"/>
            <ac:graphicFrameMk id="5" creationId="{7E53FD54-E6DC-BCE0-4BBB-69BAF9ED7A77}"/>
          </ac:graphicFrameMkLst>
        </pc:graphicFrameChg>
        <pc:picChg chg="add mod">
          <ac:chgData name="Paul Jordan" userId="ed43b065-ed91-4d94-a70c-3ec7c0759f23" providerId="ADAL" clId="{2C32DC77-3316-5A44-99F4-3731869D0700}" dt="2023-01-19T17:33:48.345" v="9002"/>
          <ac:picMkLst>
            <pc:docMk/>
            <pc:sldMk cId="1610884881" sldId="260"/>
            <ac:picMk id="12" creationId="{42A34613-A824-A500-9FF5-496822CDC437}"/>
          </ac:picMkLst>
        </pc:picChg>
        <pc:picChg chg="add mod">
          <ac:chgData name="Paul Jordan" userId="ed43b065-ed91-4d94-a70c-3ec7c0759f23" providerId="ADAL" clId="{2C32DC77-3316-5A44-99F4-3731869D0700}" dt="2023-01-19T17:32:26.252" v="8950"/>
          <ac:picMkLst>
            <pc:docMk/>
            <pc:sldMk cId="1610884881" sldId="260"/>
            <ac:picMk id="1026" creationId="{141B7169-A1EA-8B9F-7189-849E8CEA2BF4}"/>
          </ac:picMkLst>
        </pc:picChg>
        <pc:cxnChg chg="add mod">
          <ac:chgData name="Paul Jordan" userId="ed43b065-ed91-4d94-a70c-3ec7c0759f23" providerId="ADAL" clId="{2C32DC77-3316-5A44-99F4-3731869D0700}" dt="2023-01-19T17:33:27.418" v="9001"/>
          <ac:cxnSpMkLst>
            <pc:docMk/>
            <pc:sldMk cId="1610884881" sldId="260"/>
            <ac:cxnSpMk id="11" creationId="{8ED04A43-C200-3D67-9A7B-C8695B9495C5}"/>
          </ac:cxnSpMkLst>
        </pc:cxnChg>
      </pc:sldChg>
      <pc:sldChg chg="addSp modSp add del mod">
        <pc:chgData name="Paul Jordan" userId="ed43b065-ed91-4d94-a70c-3ec7c0759f23" providerId="ADAL" clId="{2C32DC77-3316-5A44-99F4-3731869D0700}" dt="2023-01-20T00:46:28.503" v="10100" actId="2696"/>
        <pc:sldMkLst>
          <pc:docMk/>
          <pc:sldMk cId="2340850937" sldId="261"/>
        </pc:sldMkLst>
        <pc:spChg chg="mod">
          <ac:chgData name="Paul Jordan" userId="ed43b065-ed91-4d94-a70c-3ec7c0759f23" providerId="ADAL" clId="{2C32DC77-3316-5A44-99F4-3731869D0700}" dt="2023-01-18T22:11:20.277" v="2192" actId="948"/>
          <ac:spMkLst>
            <pc:docMk/>
            <pc:sldMk cId="2340850937" sldId="261"/>
            <ac:spMk id="2" creationId="{0FCA8915-49F5-B0A7-3E79-B63CE49D5147}"/>
          </ac:spMkLst>
        </pc:spChg>
        <pc:spChg chg="mod">
          <ac:chgData name="Paul Jordan" userId="ed43b065-ed91-4d94-a70c-3ec7c0759f23" providerId="ADAL" clId="{2C32DC77-3316-5A44-99F4-3731869D0700}" dt="2023-01-18T22:11:11.760" v="2162" actId="20577"/>
          <ac:spMkLst>
            <pc:docMk/>
            <pc:sldMk cId="2340850937" sldId="261"/>
            <ac:spMk id="4" creationId="{6A047E8C-A273-5F9A-E1E5-02AF9B75C7FA}"/>
          </ac:spMkLst>
        </pc:spChg>
        <pc:graphicFrameChg chg="add mod modVis replST">
          <ac:chgData name="Paul Jordan" userId="ed43b065-ed91-4d94-a70c-3ec7c0759f23" providerId="ADAL" clId="{2C32DC77-3316-5A44-99F4-3731869D0700}" dt="2023-01-18T22:11:20.282" v="2196"/>
          <ac:graphicFrameMkLst>
            <pc:docMk/>
            <pc:sldMk cId="2340850937" sldId="261"/>
            <ac:graphicFrameMk id="5" creationId="{E3C76BF3-9C17-C1C7-421C-4BFDCD1926E3}"/>
          </ac:graphicFrameMkLst>
        </pc:graphicFrameChg>
      </pc:sldChg>
      <pc:sldChg chg="addSp delSp modSp add mod">
        <pc:chgData name="Paul Jordan" userId="ed43b065-ed91-4d94-a70c-3ec7c0759f23" providerId="ADAL" clId="{2C32DC77-3316-5A44-99F4-3731869D0700}" dt="2023-01-18T22:11:47.877" v="2381"/>
        <pc:sldMkLst>
          <pc:docMk/>
          <pc:sldMk cId="236858550" sldId="262"/>
        </pc:sldMkLst>
        <pc:spChg chg="mod">
          <ac:chgData name="Paul Jordan" userId="ed43b065-ed91-4d94-a70c-3ec7c0759f23" providerId="ADAL" clId="{2C32DC77-3316-5A44-99F4-3731869D0700}" dt="2023-01-18T22:11:47.805" v="2325" actId="948"/>
          <ac:spMkLst>
            <pc:docMk/>
            <pc:sldMk cId="236858550" sldId="262"/>
            <ac:spMk id="2" creationId="{0FCA8915-49F5-B0A7-3E79-B63CE49D5147}"/>
          </ac:spMkLst>
        </pc:spChg>
        <pc:spChg chg="add del mod modVis">
          <ac:chgData name="Paul Jordan" userId="ed43b065-ed91-4d94-a70c-3ec7c0759f23" providerId="ADAL" clId="{2C32DC77-3316-5A44-99F4-3731869D0700}" dt="2023-01-18T22:11:47.839" v="2366"/>
          <ac:spMkLst>
            <pc:docMk/>
            <pc:sldMk cId="236858550" sldId="262"/>
            <ac:spMk id="5" creationId="{BE441DE2-3CDF-640F-FC30-15B3C0B25F8C}"/>
          </ac:spMkLst>
        </pc:spChg>
        <pc:graphicFrameChg chg="add mod modVis replST">
          <ac:chgData name="Paul Jordan" userId="ed43b065-ed91-4d94-a70c-3ec7c0759f23" providerId="ADAL" clId="{2C32DC77-3316-5A44-99F4-3731869D0700}" dt="2023-01-18T22:11:47.877" v="2381"/>
          <ac:graphicFrameMkLst>
            <pc:docMk/>
            <pc:sldMk cId="236858550" sldId="262"/>
            <ac:graphicFrameMk id="6" creationId="{85015769-549B-4DB6-FA99-447187205213}"/>
          </ac:graphicFrameMkLst>
        </pc:graphicFrameChg>
      </pc:sldChg>
      <pc:sldChg chg="addSp delSp modSp add mod">
        <pc:chgData name="Paul Jordan" userId="ed43b065-ed91-4d94-a70c-3ec7c0759f23" providerId="ADAL" clId="{2C32DC77-3316-5A44-99F4-3731869D0700}" dt="2023-01-20T04:38:18.446" v="14146" actId="179"/>
        <pc:sldMkLst>
          <pc:docMk/>
          <pc:sldMk cId="3495379934" sldId="263"/>
        </pc:sldMkLst>
        <pc:spChg chg="mod">
          <ac:chgData name="Paul Jordan" userId="ed43b065-ed91-4d94-a70c-3ec7c0759f23" providerId="ADAL" clId="{2C32DC77-3316-5A44-99F4-3731869D0700}" dt="2023-01-18T22:12:35.675" v="2537" actId="20577"/>
          <ac:spMkLst>
            <pc:docMk/>
            <pc:sldMk cId="3495379934" sldId="263"/>
            <ac:spMk id="2" creationId="{0FCA8915-49F5-B0A7-3E79-B63CE49D5147}"/>
          </ac:spMkLst>
        </pc:spChg>
        <pc:spChg chg="mod">
          <ac:chgData name="Paul Jordan" userId="ed43b065-ed91-4d94-a70c-3ec7c0759f23" providerId="ADAL" clId="{2C32DC77-3316-5A44-99F4-3731869D0700}" dt="2023-01-19T02:30:34.364" v="7046" actId="20577"/>
          <ac:spMkLst>
            <pc:docMk/>
            <pc:sldMk cId="3495379934" sldId="263"/>
            <ac:spMk id="4" creationId="{6A047E8C-A273-5F9A-E1E5-02AF9B75C7FA}"/>
          </ac:spMkLst>
        </pc:spChg>
        <pc:spChg chg="mod">
          <ac:chgData name="Paul Jordan" userId="ed43b065-ed91-4d94-a70c-3ec7c0759f23" providerId="ADAL" clId="{2C32DC77-3316-5A44-99F4-3731869D0700}" dt="2023-01-19T19:57:13.750" v="9651" actId="207"/>
          <ac:spMkLst>
            <pc:docMk/>
            <pc:sldMk cId="3495379934" sldId="263"/>
            <ac:spMk id="6" creationId="{D8C1E27B-C01A-59FD-96CE-FAECEE65E337}"/>
          </ac:spMkLst>
        </pc:spChg>
        <pc:spChg chg="mod topLvl">
          <ac:chgData name="Paul Jordan" userId="ed43b065-ed91-4d94-a70c-3ec7c0759f23" providerId="ADAL" clId="{2C32DC77-3316-5A44-99F4-3731869D0700}" dt="2023-01-20T00:47:48.914" v="10109" actId="165"/>
          <ac:spMkLst>
            <pc:docMk/>
            <pc:sldMk cId="3495379934" sldId="263"/>
            <ac:spMk id="8" creationId="{C60DD031-6773-6BC6-A2CE-C8D20EF4EB1E}"/>
          </ac:spMkLst>
        </pc:spChg>
        <pc:spChg chg="mod">
          <ac:chgData name="Paul Jordan" userId="ed43b065-ed91-4d94-a70c-3ec7c0759f23" providerId="ADAL" clId="{2C32DC77-3316-5A44-99F4-3731869D0700}" dt="2023-01-20T00:47:41.152" v="10103"/>
          <ac:spMkLst>
            <pc:docMk/>
            <pc:sldMk cId="3495379934" sldId="263"/>
            <ac:spMk id="10" creationId="{3F015DC4-074F-BEEB-39FA-026C5E13C2D1}"/>
          </ac:spMkLst>
        </pc:spChg>
        <pc:spChg chg="mod">
          <ac:chgData name="Paul Jordan" userId="ed43b065-ed91-4d94-a70c-3ec7c0759f23" providerId="ADAL" clId="{2C32DC77-3316-5A44-99F4-3731869D0700}" dt="2023-01-20T00:47:41.152" v="10103"/>
          <ac:spMkLst>
            <pc:docMk/>
            <pc:sldMk cId="3495379934" sldId="263"/>
            <ac:spMk id="11" creationId="{EDB6911C-B5A9-FA6E-4330-A9937FCB7349}"/>
          </ac:spMkLst>
        </pc:spChg>
        <pc:spChg chg="mod">
          <ac:chgData name="Paul Jordan" userId="ed43b065-ed91-4d94-a70c-3ec7c0759f23" providerId="ADAL" clId="{2C32DC77-3316-5A44-99F4-3731869D0700}" dt="2023-01-20T00:47:41.152" v="10103"/>
          <ac:spMkLst>
            <pc:docMk/>
            <pc:sldMk cId="3495379934" sldId="263"/>
            <ac:spMk id="12" creationId="{E6354D9C-49A3-65F4-81B6-BC48ECA02E2E}"/>
          </ac:spMkLst>
        </pc:spChg>
        <pc:spChg chg="mod topLvl">
          <ac:chgData name="Paul Jordan" userId="ed43b065-ed91-4d94-a70c-3ec7c0759f23" providerId="ADAL" clId="{2C32DC77-3316-5A44-99F4-3731869D0700}" dt="2023-01-20T00:47:48.914" v="10109" actId="165"/>
          <ac:spMkLst>
            <pc:docMk/>
            <pc:sldMk cId="3495379934" sldId="263"/>
            <ac:spMk id="13" creationId="{55D09FF0-A27C-FC54-0AAB-EBCA712E23D7}"/>
          </ac:spMkLst>
        </pc:spChg>
        <pc:spChg chg="mod">
          <ac:chgData name="Paul Jordan" userId="ed43b065-ed91-4d94-a70c-3ec7c0759f23" providerId="ADAL" clId="{2C32DC77-3316-5A44-99F4-3731869D0700}" dt="2023-01-20T00:47:41.152" v="10103"/>
          <ac:spMkLst>
            <pc:docMk/>
            <pc:sldMk cId="3495379934" sldId="263"/>
            <ac:spMk id="15" creationId="{FBB63100-ECA6-2DF0-50B7-BC09CA15EE3A}"/>
          </ac:spMkLst>
        </pc:spChg>
        <pc:spChg chg="mod">
          <ac:chgData name="Paul Jordan" userId="ed43b065-ed91-4d94-a70c-3ec7c0759f23" providerId="ADAL" clId="{2C32DC77-3316-5A44-99F4-3731869D0700}" dt="2023-01-20T00:47:41.152" v="10103"/>
          <ac:spMkLst>
            <pc:docMk/>
            <pc:sldMk cId="3495379934" sldId="263"/>
            <ac:spMk id="16" creationId="{E4AF208B-126A-9559-0219-5B86DD915BE6}"/>
          </ac:spMkLst>
        </pc:spChg>
        <pc:spChg chg="mod">
          <ac:chgData name="Paul Jordan" userId="ed43b065-ed91-4d94-a70c-3ec7c0759f23" providerId="ADAL" clId="{2C32DC77-3316-5A44-99F4-3731869D0700}" dt="2023-01-20T00:47:41.152" v="10103"/>
          <ac:spMkLst>
            <pc:docMk/>
            <pc:sldMk cId="3495379934" sldId="263"/>
            <ac:spMk id="17" creationId="{F1058FFC-FA96-EB78-6C8B-94B4F11565C8}"/>
          </ac:spMkLst>
        </pc:spChg>
        <pc:spChg chg="mod">
          <ac:chgData name="Paul Jordan" userId="ed43b065-ed91-4d94-a70c-3ec7c0759f23" providerId="ADAL" clId="{2C32DC77-3316-5A44-99F4-3731869D0700}" dt="2023-01-20T00:47:41.152" v="10103"/>
          <ac:spMkLst>
            <pc:docMk/>
            <pc:sldMk cId="3495379934" sldId="263"/>
            <ac:spMk id="18" creationId="{5E07F676-F9B3-FE5E-4101-AC0045F97361}"/>
          </ac:spMkLst>
        </pc:spChg>
        <pc:spChg chg="mod topLvl">
          <ac:chgData name="Paul Jordan" userId="ed43b065-ed91-4d94-a70c-3ec7c0759f23" providerId="ADAL" clId="{2C32DC77-3316-5A44-99F4-3731869D0700}" dt="2023-01-20T00:47:48.914" v="10109" actId="165"/>
          <ac:spMkLst>
            <pc:docMk/>
            <pc:sldMk cId="3495379934" sldId="263"/>
            <ac:spMk id="19" creationId="{E7E6199B-3483-3982-E472-7EADA796288F}"/>
          </ac:spMkLst>
        </pc:spChg>
        <pc:spChg chg="mod">
          <ac:chgData name="Paul Jordan" userId="ed43b065-ed91-4d94-a70c-3ec7c0759f23" providerId="ADAL" clId="{2C32DC77-3316-5A44-99F4-3731869D0700}" dt="2023-01-20T00:47:41.152" v="10103"/>
          <ac:spMkLst>
            <pc:docMk/>
            <pc:sldMk cId="3495379934" sldId="263"/>
            <ac:spMk id="21" creationId="{309BD05D-7168-183A-70D6-1BE2787D083D}"/>
          </ac:spMkLst>
        </pc:spChg>
        <pc:spChg chg="mod">
          <ac:chgData name="Paul Jordan" userId="ed43b065-ed91-4d94-a70c-3ec7c0759f23" providerId="ADAL" clId="{2C32DC77-3316-5A44-99F4-3731869D0700}" dt="2023-01-20T00:47:41.152" v="10103"/>
          <ac:spMkLst>
            <pc:docMk/>
            <pc:sldMk cId="3495379934" sldId="263"/>
            <ac:spMk id="22" creationId="{8E43A823-141B-F03F-0CA7-3192A1190A0E}"/>
          </ac:spMkLst>
        </pc:spChg>
        <pc:spChg chg="mod">
          <ac:chgData name="Paul Jordan" userId="ed43b065-ed91-4d94-a70c-3ec7c0759f23" providerId="ADAL" clId="{2C32DC77-3316-5A44-99F4-3731869D0700}" dt="2023-01-20T00:47:41.152" v="10103"/>
          <ac:spMkLst>
            <pc:docMk/>
            <pc:sldMk cId="3495379934" sldId="263"/>
            <ac:spMk id="23" creationId="{221280BA-60BC-3CA6-53F6-C4A10476B4B7}"/>
          </ac:spMkLst>
        </pc:spChg>
        <pc:spChg chg="mod">
          <ac:chgData name="Paul Jordan" userId="ed43b065-ed91-4d94-a70c-3ec7c0759f23" providerId="ADAL" clId="{2C32DC77-3316-5A44-99F4-3731869D0700}" dt="2023-01-20T00:47:41.152" v="10103"/>
          <ac:spMkLst>
            <pc:docMk/>
            <pc:sldMk cId="3495379934" sldId="263"/>
            <ac:spMk id="24" creationId="{12D27D42-340A-0BE0-5A72-9E8E95398E6E}"/>
          </ac:spMkLst>
        </pc:spChg>
        <pc:spChg chg="mod">
          <ac:chgData name="Paul Jordan" userId="ed43b065-ed91-4d94-a70c-3ec7c0759f23" providerId="ADAL" clId="{2C32DC77-3316-5A44-99F4-3731869D0700}" dt="2023-01-20T00:47:41.152" v="10103"/>
          <ac:spMkLst>
            <pc:docMk/>
            <pc:sldMk cId="3495379934" sldId="263"/>
            <ac:spMk id="25" creationId="{BA333701-87AE-E2F6-00D7-63878D8A0C7B}"/>
          </ac:spMkLst>
        </pc:spChg>
        <pc:spChg chg="mod topLvl">
          <ac:chgData name="Paul Jordan" userId="ed43b065-ed91-4d94-a70c-3ec7c0759f23" providerId="ADAL" clId="{2C32DC77-3316-5A44-99F4-3731869D0700}" dt="2023-01-20T04:38:18.446" v="14146" actId="179"/>
          <ac:spMkLst>
            <pc:docMk/>
            <pc:sldMk cId="3495379934" sldId="263"/>
            <ac:spMk id="26" creationId="{820C0556-9E82-2D21-4543-C425F1EF3826}"/>
          </ac:spMkLst>
        </pc:spChg>
        <pc:spChg chg="mod topLvl">
          <ac:chgData name="Paul Jordan" userId="ed43b065-ed91-4d94-a70c-3ec7c0759f23" providerId="ADAL" clId="{2C32DC77-3316-5A44-99F4-3731869D0700}" dt="2023-01-20T04:37:15.582" v="14040" actId="12"/>
          <ac:spMkLst>
            <pc:docMk/>
            <pc:sldMk cId="3495379934" sldId="263"/>
            <ac:spMk id="27" creationId="{1C3FD927-D059-509A-2D2B-E0C80F1AAC2D}"/>
          </ac:spMkLst>
        </pc:spChg>
        <pc:spChg chg="mod topLvl">
          <ac:chgData name="Paul Jordan" userId="ed43b065-ed91-4d94-a70c-3ec7c0759f23" providerId="ADAL" clId="{2C32DC77-3316-5A44-99F4-3731869D0700}" dt="2023-01-20T04:37:33.982" v="14068" actId="12"/>
          <ac:spMkLst>
            <pc:docMk/>
            <pc:sldMk cId="3495379934" sldId="263"/>
            <ac:spMk id="28" creationId="{55DEE725-9FE3-D608-0A96-F30B8E8E4A59}"/>
          </ac:spMkLst>
        </pc:spChg>
        <pc:spChg chg="mod">
          <ac:chgData name="Paul Jordan" userId="ed43b065-ed91-4d94-a70c-3ec7c0759f23" providerId="ADAL" clId="{2C32DC77-3316-5A44-99F4-3731869D0700}" dt="2023-01-20T04:35:34.707" v="13999" actId="1076"/>
          <ac:spMkLst>
            <pc:docMk/>
            <pc:sldMk cId="3495379934" sldId="263"/>
            <ac:spMk id="56" creationId="{3E67883C-080F-AE1F-E520-496CB951B8A4}"/>
          </ac:spMkLst>
        </pc:spChg>
        <pc:grpChg chg="mod topLvl">
          <ac:chgData name="Paul Jordan" userId="ed43b065-ed91-4d94-a70c-3ec7c0759f23" providerId="ADAL" clId="{2C32DC77-3316-5A44-99F4-3731869D0700}" dt="2023-01-20T00:47:48.914" v="10109" actId="165"/>
          <ac:grpSpMkLst>
            <pc:docMk/>
            <pc:sldMk cId="3495379934" sldId="263"/>
            <ac:grpSpMk id="9" creationId="{722AAE48-0073-AE7A-15F1-128D616F2DBB}"/>
          </ac:grpSpMkLst>
        </pc:grpChg>
        <pc:grpChg chg="mod topLvl">
          <ac:chgData name="Paul Jordan" userId="ed43b065-ed91-4d94-a70c-3ec7c0759f23" providerId="ADAL" clId="{2C32DC77-3316-5A44-99F4-3731869D0700}" dt="2023-01-20T00:47:48.914" v="10109" actId="165"/>
          <ac:grpSpMkLst>
            <pc:docMk/>
            <pc:sldMk cId="3495379934" sldId="263"/>
            <ac:grpSpMk id="14" creationId="{945CCCE9-9C60-6764-2BA9-595D92970800}"/>
          </ac:grpSpMkLst>
        </pc:grpChg>
        <pc:grpChg chg="mod topLvl">
          <ac:chgData name="Paul Jordan" userId="ed43b065-ed91-4d94-a70c-3ec7c0759f23" providerId="ADAL" clId="{2C32DC77-3316-5A44-99F4-3731869D0700}" dt="2023-01-20T00:47:48.914" v="10109" actId="165"/>
          <ac:grpSpMkLst>
            <pc:docMk/>
            <pc:sldMk cId="3495379934" sldId="263"/>
            <ac:grpSpMk id="20" creationId="{F70925E1-FD50-BF93-0003-90A699558176}"/>
          </ac:grpSpMkLst>
        </pc:grpChg>
        <pc:grpChg chg="add del mod">
          <ac:chgData name="Paul Jordan" userId="ed43b065-ed91-4d94-a70c-3ec7c0759f23" providerId="ADAL" clId="{2C32DC77-3316-5A44-99F4-3731869D0700}" dt="2023-01-20T00:47:48.914" v="10109" actId="165"/>
          <ac:grpSpMkLst>
            <pc:docMk/>
            <pc:sldMk cId="3495379934" sldId="263"/>
            <ac:grpSpMk id="32" creationId="{F8B79229-7618-ABC1-D23F-7AFCCD68FD83}"/>
          </ac:grpSpMkLst>
        </pc:grpChg>
        <pc:graphicFrameChg chg="mod">
          <ac:chgData name="Paul Jordan" userId="ed43b065-ed91-4d94-a70c-3ec7c0759f23" providerId="ADAL" clId="{2C32DC77-3316-5A44-99F4-3731869D0700}" dt="2023-01-18T22:12:35.969" v="2541"/>
          <ac:graphicFrameMkLst>
            <pc:docMk/>
            <pc:sldMk cId="3495379934" sldId="263"/>
            <ac:graphicFrameMk id="5" creationId="{F3F434E7-74BA-087F-1BD5-FE832AA1E591}"/>
          </ac:graphicFrameMkLst>
        </pc:graphicFrameChg>
        <pc:picChg chg="add mod">
          <ac:chgData name="Paul Jordan" userId="ed43b065-ed91-4d94-a70c-3ec7c0759f23" providerId="ADAL" clId="{2C32DC77-3316-5A44-99F4-3731869D0700}" dt="2023-01-20T04:06:36.998" v="12748" actId="1076"/>
          <ac:picMkLst>
            <pc:docMk/>
            <pc:sldMk cId="3495379934" sldId="263"/>
            <ac:picMk id="4" creationId="{0E321579-DDCB-989B-5F44-2D44BC3F38C1}"/>
          </ac:picMkLst>
        </pc:picChg>
        <pc:picChg chg="add mod">
          <ac:chgData name="Paul Jordan" userId="ed43b065-ed91-4d94-a70c-3ec7c0759f23" providerId="ADAL" clId="{2C32DC77-3316-5A44-99F4-3731869D0700}" dt="2023-01-20T00:45:45.458" v="10096" actId="1076"/>
          <ac:picMkLst>
            <pc:docMk/>
            <pc:sldMk cId="3495379934" sldId="263"/>
            <ac:picMk id="7" creationId="{12560F13-3E93-C56D-9EFF-025A2C9D297C}"/>
          </ac:picMkLst>
        </pc:picChg>
        <pc:picChg chg="mod topLvl">
          <ac:chgData name="Paul Jordan" userId="ed43b065-ed91-4d94-a70c-3ec7c0759f23" providerId="ADAL" clId="{2C32DC77-3316-5A44-99F4-3731869D0700}" dt="2023-01-20T00:47:55.963" v="10126" actId="1035"/>
          <ac:picMkLst>
            <pc:docMk/>
            <pc:sldMk cId="3495379934" sldId="263"/>
            <ac:picMk id="29" creationId="{D9BC52EB-52A4-26EA-79FE-7B138A40D751}"/>
          </ac:picMkLst>
        </pc:picChg>
        <pc:picChg chg="mod topLvl">
          <ac:chgData name="Paul Jordan" userId="ed43b065-ed91-4d94-a70c-3ec7c0759f23" providerId="ADAL" clId="{2C32DC77-3316-5A44-99F4-3731869D0700}" dt="2023-01-20T00:47:55.963" v="10126" actId="1035"/>
          <ac:picMkLst>
            <pc:docMk/>
            <pc:sldMk cId="3495379934" sldId="263"/>
            <ac:picMk id="30" creationId="{8919C83F-566C-8BF8-033F-491C1D176B96}"/>
          </ac:picMkLst>
        </pc:picChg>
        <pc:picChg chg="mod topLvl">
          <ac:chgData name="Paul Jordan" userId="ed43b065-ed91-4d94-a70c-3ec7c0759f23" providerId="ADAL" clId="{2C32DC77-3316-5A44-99F4-3731869D0700}" dt="2023-01-20T00:47:55.963" v="10126" actId="1035"/>
          <ac:picMkLst>
            <pc:docMk/>
            <pc:sldMk cId="3495379934" sldId="263"/>
            <ac:picMk id="31" creationId="{6AFB512E-019B-C2B4-35AB-BA5FB8844211}"/>
          </ac:picMkLst>
        </pc:picChg>
        <pc:picChg chg="mod">
          <ac:chgData name="Paul Jordan" userId="ed43b065-ed91-4d94-a70c-3ec7c0759f23" providerId="ADAL" clId="{2C32DC77-3316-5A44-99F4-3731869D0700}" dt="2023-01-20T04:06:47.214" v="12749" actId="1076"/>
          <ac:picMkLst>
            <pc:docMk/>
            <pc:sldMk cId="3495379934" sldId="263"/>
            <ac:picMk id="60" creationId="{2460A9F0-4043-DD22-C729-6DD71BC4F0A8}"/>
          </ac:picMkLst>
        </pc:picChg>
      </pc:sldChg>
      <pc:sldChg chg="modSp add mod">
        <pc:chgData name="Paul Jordan" userId="ed43b065-ed91-4d94-a70c-3ec7c0759f23" providerId="ADAL" clId="{2C32DC77-3316-5A44-99F4-3731869D0700}" dt="2023-01-18T22:12:42.645" v="2556"/>
        <pc:sldMkLst>
          <pc:docMk/>
          <pc:sldMk cId="3460523586" sldId="264"/>
        </pc:sldMkLst>
        <pc:spChg chg="mod">
          <ac:chgData name="Paul Jordan" userId="ed43b065-ed91-4d94-a70c-3ec7c0759f23" providerId="ADAL" clId="{2C32DC77-3316-5A44-99F4-3731869D0700}" dt="2023-01-18T22:12:42.641" v="2552" actId="948"/>
          <ac:spMkLst>
            <pc:docMk/>
            <pc:sldMk cId="3460523586" sldId="264"/>
            <ac:spMk id="2" creationId="{0FCA8915-49F5-B0A7-3E79-B63CE49D5147}"/>
          </ac:spMkLst>
        </pc:spChg>
        <pc:graphicFrameChg chg="mod">
          <ac:chgData name="Paul Jordan" userId="ed43b065-ed91-4d94-a70c-3ec7c0759f23" providerId="ADAL" clId="{2C32DC77-3316-5A44-99F4-3731869D0700}" dt="2023-01-18T22:12:42.645" v="2556"/>
          <ac:graphicFrameMkLst>
            <pc:docMk/>
            <pc:sldMk cId="3460523586" sldId="264"/>
            <ac:graphicFrameMk id="5" creationId="{F3F434E7-74BA-087F-1BD5-FE832AA1E591}"/>
          </ac:graphicFrameMkLst>
        </pc:graphicFrameChg>
      </pc:sldChg>
      <pc:sldChg chg="addSp delSp modSp add mod">
        <pc:chgData name="Paul Jordan" userId="ed43b065-ed91-4d94-a70c-3ec7c0759f23" providerId="ADAL" clId="{2C32DC77-3316-5A44-99F4-3731869D0700}" dt="2023-01-20T04:50:49.799" v="14197"/>
        <pc:sldMkLst>
          <pc:docMk/>
          <pc:sldMk cId="3536957954" sldId="265"/>
        </pc:sldMkLst>
        <pc:spChg chg="mod">
          <ac:chgData name="Paul Jordan" userId="ed43b065-ed91-4d94-a70c-3ec7c0759f23" providerId="ADAL" clId="{2C32DC77-3316-5A44-99F4-3731869D0700}" dt="2023-01-20T04:50:49.763" v="14154" actId="948"/>
          <ac:spMkLst>
            <pc:docMk/>
            <pc:sldMk cId="3536957954" sldId="265"/>
            <ac:spMk id="2" creationId="{0FCA8915-49F5-B0A7-3E79-B63CE49D5147}"/>
          </ac:spMkLst>
        </pc:spChg>
        <pc:spChg chg="mod">
          <ac:chgData name="Paul Jordan" userId="ed43b065-ed91-4d94-a70c-3ec7c0759f23" providerId="ADAL" clId="{2C32DC77-3316-5A44-99F4-3731869D0700}" dt="2023-01-20T04:50:47.659" v="14151" actId="20577"/>
          <ac:spMkLst>
            <pc:docMk/>
            <pc:sldMk cId="3536957954" sldId="265"/>
            <ac:spMk id="4" creationId="{6A047E8C-A273-5F9A-E1E5-02AF9B75C7FA}"/>
          </ac:spMkLst>
        </pc:spChg>
        <pc:spChg chg="add del mod modVis">
          <ac:chgData name="Paul Jordan" userId="ed43b065-ed91-4d94-a70c-3ec7c0759f23" providerId="ADAL" clId="{2C32DC77-3316-5A44-99F4-3731869D0700}" dt="2023-01-20T04:50:49.794" v="14195"/>
          <ac:spMkLst>
            <pc:docMk/>
            <pc:sldMk cId="3536957954" sldId="265"/>
            <ac:spMk id="6" creationId="{7515054B-BCBA-31A2-10A8-E1F77830D7C1}"/>
          </ac:spMkLst>
        </pc:spChg>
        <pc:spChg chg="mod">
          <ac:chgData name="Paul Jordan" userId="ed43b065-ed91-4d94-a70c-3ec7c0759f23" providerId="ADAL" clId="{2C32DC77-3316-5A44-99F4-3731869D0700}" dt="2023-01-19T19:49:31.589" v="9544" actId="207"/>
          <ac:spMkLst>
            <pc:docMk/>
            <pc:sldMk cId="3536957954" sldId="265"/>
            <ac:spMk id="6" creationId="{8FC9BBD2-9279-F769-832C-18C34B8EDA4F}"/>
          </ac:spMkLst>
        </pc:spChg>
        <pc:spChg chg="add del mod modVis">
          <ac:chgData name="Paul Jordan" userId="ed43b065-ed91-4d94-a70c-3ec7c0759f23" providerId="ADAL" clId="{2C32DC77-3316-5A44-99F4-3731869D0700}" dt="2023-01-20T03:19:11.187" v="10649"/>
          <ac:spMkLst>
            <pc:docMk/>
            <pc:sldMk cId="3536957954" sldId="265"/>
            <ac:spMk id="7" creationId="{D1DBABC7-51B3-D747-2AD1-A515C4E9FB93}"/>
          </ac:spMkLst>
        </pc:spChg>
        <pc:spChg chg="add del mod modVis">
          <ac:chgData name="Paul Jordan" userId="ed43b065-ed91-4d94-a70c-3ec7c0759f23" providerId="ADAL" clId="{2C32DC77-3316-5A44-99F4-3731869D0700}" dt="2023-01-20T03:19:12.970" v="10695"/>
          <ac:spMkLst>
            <pc:docMk/>
            <pc:sldMk cId="3536957954" sldId="265"/>
            <ac:spMk id="9" creationId="{64E5E6DD-749F-8F56-A573-4216A427604F}"/>
          </ac:spMkLst>
        </pc:spChg>
        <pc:spChg chg="add del mod modVis">
          <ac:chgData name="Paul Jordan" userId="ed43b065-ed91-4d94-a70c-3ec7c0759f23" providerId="ADAL" clId="{2C32DC77-3316-5A44-99F4-3731869D0700}" dt="2023-01-20T03:19:22.236" v="10791"/>
          <ac:spMkLst>
            <pc:docMk/>
            <pc:sldMk cId="3536957954" sldId="265"/>
            <ac:spMk id="10" creationId="{33A64FB0-D7E7-C847-DDD8-BD1D42319AD2}"/>
          </ac:spMkLst>
        </pc:spChg>
        <pc:spChg chg="add del mod modVis">
          <ac:chgData name="Paul Jordan" userId="ed43b065-ed91-4d94-a70c-3ec7c0759f23" providerId="ADAL" clId="{2C32DC77-3316-5A44-99F4-3731869D0700}" dt="2023-01-20T03:19:25.284" v="10845"/>
          <ac:spMkLst>
            <pc:docMk/>
            <pc:sldMk cId="3536957954" sldId="265"/>
            <ac:spMk id="11" creationId="{FCB5C055-D93A-AFAA-2D7C-6E2AD069D7B8}"/>
          </ac:spMkLst>
        </pc:spChg>
        <pc:spChg chg="add del mod modVis">
          <ac:chgData name="Paul Jordan" userId="ed43b065-ed91-4d94-a70c-3ec7c0759f23" providerId="ADAL" clId="{2C32DC77-3316-5A44-99F4-3731869D0700}" dt="2023-01-20T03:19:26.217" v="10891"/>
          <ac:spMkLst>
            <pc:docMk/>
            <pc:sldMk cId="3536957954" sldId="265"/>
            <ac:spMk id="12" creationId="{672F8304-D7DC-4490-5C45-59622E9F1625}"/>
          </ac:spMkLst>
        </pc:spChg>
        <pc:spChg chg="add del mod modVis">
          <ac:chgData name="Paul Jordan" userId="ed43b065-ed91-4d94-a70c-3ec7c0759f23" providerId="ADAL" clId="{2C32DC77-3316-5A44-99F4-3731869D0700}" dt="2023-01-20T03:19:26.794" v="10936"/>
          <ac:spMkLst>
            <pc:docMk/>
            <pc:sldMk cId="3536957954" sldId="265"/>
            <ac:spMk id="13" creationId="{440D5F57-2D93-D6EE-2045-2531F75762F0}"/>
          </ac:spMkLst>
        </pc:spChg>
        <pc:spChg chg="add del mod modVis">
          <ac:chgData name="Paul Jordan" userId="ed43b065-ed91-4d94-a70c-3ec7c0759f23" providerId="ADAL" clId="{2C32DC77-3316-5A44-99F4-3731869D0700}" dt="2023-01-20T03:19:27.362" v="10981"/>
          <ac:spMkLst>
            <pc:docMk/>
            <pc:sldMk cId="3536957954" sldId="265"/>
            <ac:spMk id="14" creationId="{2B066FD3-D17B-D09A-BF87-F88EF22A49A2}"/>
          </ac:spMkLst>
        </pc:spChg>
        <pc:spChg chg="add del mod modVis">
          <ac:chgData name="Paul Jordan" userId="ed43b065-ed91-4d94-a70c-3ec7c0759f23" providerId="ADAL" clId="{2C32DC77-3316-5A44-99F4-3731869D0700}" dt="2023-01-20T03:19:32.467" v="11026"/>
          <ac:spMkLst>
            <pc:docMk/>
            <pc:sldMk cId="3536957954" sldId="265"/>
            <ac:spMk id="15" creationId="{72FBB1ED-17A6-AD1D-B6AC-915DB62A9691}"/>
          </ac:spMkLst>
        </pc:spChg>
        <pc:graphicFrameChg chg="mod">
          <ac:chgData name="Paul Jordan" userId="ed43b065-ed91-4d94-a70c-3ec7c0759f23" providerId="ADAL" clId="{2C32DC77-3316-5A44-99F4-3731869D0700}" dt="2023-01-20T04:50:49.799" v="14197"/>
          <ac:graphicFrameMkLst>
            <pc:docMk/>
            <pc:sldMk cId="3536957954" sldId="265"/>
            <ac:graphicFrameMk id="5" creationId="{F3F434E7-74BA-087F-1BD5-FE832AA1E591}"/>
          </ac:graphicFrameMkLst>
        </pc:graphicFrameChg>
        <pc:picChg chg="add del mod">
          <ac:chgData name="Paul Jordan" userId="ed43b065-ed91-4d94-a70c-3ec7c0759f23" providerId="ADAL" clId="{2C32DC77-3316-5A44-99F4-3731869D0700}" dt="2023-01-19T19:51:12.439" v="9549" actId="478"/>
          <ac:picMkLst>
            <pc:docMk/>
            <pc:sldMk cId="3536957954" sldId="265"/>
            <ac:picMk id="7" creationId="{EE9D37F7-38C4-2D48-D9FB-6EE7EAE345F0}"/>
          </ac:picMkLst>
        </pc:picChg>
        <pc:picChg chg="add mod modCrop">
          <ac:chgData name="Paul Jordan" userId="ed43b065-ed91-4d94-a70c-3ec7c0759f23" providerId="ADAL" clId="{2C32DC77-3316-5A44-99F4-3731869D0700}" dt="2023-01-19T19:51:44.486" v="9559" actId="1076"/>
          <ac:picMkLst>
            <pc:docMk/>
            <pc:sldMk cId="3536957954" sldId="265"/>
            <ac:picMk id="8" creationId="{52EC7B1C-8392-BFC6-3F74-D652D29909A8}"/>
          </ac:picMkLst>
        </pc:picChg>
        <pc:picChg chg="add del mod">
          <ac:chgData name="Paul Jordan" userId="ed43b065-ed91-4d94-a70c-3ec7c0759f23" providerId="ADAL" clId="{2C32DC77-3316-5A44-99F4-3731869D0700}" dt="2023-01-19T19:49:23.916" v="9541" actId="478"/>
          <ac:picMkLst>
            <pc:docMk/>
            <pc:sldMk cId="3536957954" sldId="265"/>
            <ac:picMk id="1026" creationId="{8AB26E68-5549-38A5-8445-F7CDA233D0B1}"/>
          </ac:picMkLst>
        </pc:picChg>
      </pc:sldChg>
      <pc:sldChg chg="delSp modSp del mod">
        <pc:chgData name="Paul Jordan" userId="ed43b065-ed91-4d94-a70c-3ec7c0759f23" providerId="ADAL" clId="{2C32DC77-3316-5A44-99F4-3731869D0700}" dt="2023-01-18T22:56:30.671" v="5125" actId="2696"/>
        <pc:sldMkLst>
          <pc:docMk/>
          <pc:sldMk cId="4169713016" sldId="266"/>
        </pc:sldMkLst>
        <pc:spChg chg="topLvl">
          <ac:chgData name="Paul Jordan" userId="ed43b065-ed91-4d94-a70c-3ec7c0759f23" providerId="ADAL" clId="{2C32DC77-3316-5A44-99F4-3731869D0700}" dt="2023-01-18T22:56:26.591" v="5122" actId="165"/>
          <ac:spMkLst>
            <pc:docMk/>
            <pc:sldMk cId="4169713016" sldId="266"/>
            <ac:spMk id="11" creationId="{0535BB16-758D-FBF3-35CB-4236AA69AB23}"/>
          </ac:spMkLst>
        </pc:spChg>
        <pc:spChg chg="topLvl">
          <ac:chgData name="Paul Jordan" userId="ed43b065-ed91-4d94-a70c-3ec7c0759f23" providerId="ADAL" clId="{2C32DC77-3316-5A44-99F4-3731869D0700}" dt="2023-01-18T22:56:26.591" v="5122" actId="165"/>
          <ac:spMkLst>
            <pc:docMk/>
            <pc:sldMk cId="4169713016" sldId="266"/>
            <ac:spMk id="14" creationId="{95931C8C-F4A0-88F6-F848-8408FC009DA9}"/>
          </ac:spMkLst>
        </pc:spChg>
        <pc:spChg chg="topLvl">
          <ac:chgData name="Paul Jordan" userId="ed43b065-ed91-4d94-a70c-3ec7c0759f23" providerId="ADAL" clId="{2C32DC77-3316-5A44-99F4-3731869D0700}" dt="2023-01-18T22:56:26.591" v="5122" actId="165"/>
          <ac:spMkLst>
            <pc:docMk/>
            <pc:sldMk cId="4169713016" sldId="266"/>
            <ac:spMk id="15" creationId="{2D13A9D4-2BBB-AF82-8223-BA752F63CE8C}"/>
          </ac:spMkLst>
        </pc:spChg>
        <pc:grpChg chg="del">
          <ac:chgData name="Paul Jordan" userId="ed43b065-ed91-4d94-a70c-3ec7c0759f23" providerId="ADAL" clId="{2C32DC77-3316-5A44-99F4-3731869D0700}" dt="2023-01-18T22:56:26.591" v="5122" actId="165"/>
          <ac:grpSpMkLst>
            <pc:docMk/>
            <pc:sldMk cId="4169713016" sldId="266"/>
            <ac:grpSpMk id="9" creationId="{10A7CAED-650C-4F58-713D-95DF3B469EA7}"/>
          </ac:grpSpMkLst>
        </pc:grpChg>
        <pc:grpChg chg="del">
          <ac:chgData name="Paul Jordan" userId="ed43b065-ed91-4d94-a70c-3ec7c0759f23" providerId="ADAL" clId="{2C32DC77-3316-5A44-99F4-3731869D0700}" dt="2023-01-18T22:56:26.591" v="5122" actId="165"/>
          <ac:grpSpMkLst>
            <pc:docMk/>
            <pc:sldMk cId="4169713016" sldId="266"/>
            <ac:grpSpMk id="12" creationId="{C0811CBB-55AB-05CC-CF7B-6BEBF8DFF0B5}"/>
          </ac:grpSpMkLst>
        </pc:grpChg>
        <pc:picChg chg="del topLvl">
          <ac:chgData name="Paul Jordan" userId="ed43b065-ed91-4d94-a70c-3ec7c0759f23" providerId="ADAL" clId="{2C32DC77-3316-5A44-99F4-3731869D0700}" dt="2023-01-18T22:56:28.522" v="5123" actId="21"/>
          <ac:picMkLst>
            <pc:docMk/>
            <pc:sldMk cId="4169713016" sldId="266"/>
            <ac:picMk id="10" creationId="{7A1D245C-3FD7-61FB-FAAB-8A9E5F2F1F34}"/>
          </ac:picMkLst>
        </pc:picChg>
        <pc:picChg chg="del mod topLvl">
          <ac:chgData name="Paul Jordan" userId="ed43b065-ed91-4d94-a70c-3ec7c0759f23" providerId="ADAL" clId="{2C32DC77-3316-5A44-99F4-3731869D0700}" dt="2023-01-18T22:56:28.522" v="5123" actId="21"/>
          <ac:picMkLst>
            <pc:docMk/>
            <pc:sldMk cId="4169713016" sldId="266"/>
            <ac:picMk id="13" creationId="{2483F2DF-5EEE-43BE-8B35-F392485E0435}"/>
          </ac:picMkLst>
        </pc:picChg>
      </pc:sldChg>
      <pc:sldChg chg="addSp delSp modSp mod">
        <pc:chgData name="Paul Jordan" userId="ed43b065-ed91-4d94-a70c-3ec7c0759f23" providerId="ADAL" clId="{2C32DC77-3316-5A44-99F4-3731869D0700}" dt="2023-01-19T19:37:29.460" v="9159" actId="20577"/>
        <pc:sldMkLst>
          <pc:docMk/>
          <pc:sldMk cId="2795900345" sldId="267"/>
        </pc:sldMkLst>
        <pc:spChg chg="mod">
          <ac:chgData name="Paul Jordan" userId="ed43b065-ed91-4d94-a70c-3ec7c0759f23" providerId="ADAL" clId="{2C32DC77-3316-5A44-99F4-3731869D0700}" dt="2023-01-19T04:51:58.670" v="8768" actId="948"/>
          <ac:spMkLst>
            <pc:docMk/>
            <pc:sldMk cId="2795900345" sldId="267"/>
            <ac:spMk id="2" creationId="{6AE18DC0-41BE-329C-5072-789A85A7185B}"/>
          </ac:spMkLst>
        </pc:spChg>
        <pc:spChg chg="mod">
          <ac:chgData name="Paul Jordan" userId="ed43b065-ed91-4d94-a70c-3ec7c0759f23" providerId="ADAL" clId="{2C32DC77-3316-5A44-99F4-3731869D0700}" dt="2023-01-19T02:31:28.908" v="7104"/>
          <ac:spMkLst>
            <pc:docMk/>
            <pc:sldMk cId="2795900345" sldId="267"/>
            <ac:spMk id="3" creationId="{424BE380-9311-15A7-FCF7-3BC2A0EBB1BB}"/>
          </ac:spMkLst>
        </pc:spChg>
        <pc:spChg chg="del mod">
          <ac:chgData name="Paul Jordan" userId="ed43b065-ed91-4d94-a70c-3ec7c0759f23" providerId="ADAL" clId="{2C32DC77-3316-5A44-99F4-3731869D0700}" dt="2023-01-19T02:30:09.953" v="7037"/>
          <ac:spMkLst>
            <pc:docMk/>
            <pc:sldMk cId="2795900345" sldId="267"/>
            <ac:spMk id="4" creationId="{26D2320E-A449-739D-B653-D2CB2A2C1844}"/>
          </ac:spMkLst>
        </pc:spChg>
        <pc:spChg chg="add del mod">
          <ac:chgData name="Paul Jordan" userId="ed43b065-ed91-4d94-a70c-3ec7c0759f23" providerId="ADAL" clId="{2C32DC77-3316-5A44-99F4-3731869D0700}" dt="2023-01-19T02:30:54.487" v="7058" actId="478"/>
          <ac:spMkLst>
            <pc:docMk/>
            <pc:sldMk cId="2795900345" sldId="267"/>
            <ac:spMk id="11" creationId="{FFFDF9D5-07CE-B324-3262-816A9A951844}"/>
          </ac:spMkLst>
        </pc:spChg>
        <pc:spChg chg="add del mod">
          <ac:chgData name="Paul Jordan" userId="ed43b065-ed91-4d94-a70c-3ec7c0759f23" providerId="ADAL" clId="{2C32DC77-3316-5A44-99F4-3731869D0700}" dt="2023-01-19T02:34:18.935" v="7216" actId="478"/>
          <ac:spMkLst>
            <pc:docMk/>
            <pc:sldMk cId="2795900345" sldId="267"/>
            <ac:spMk id="14" creationId="{DF09B1E7-378C-0023-A040-20A1B3381FDB}"/>
          </ac:spMkLst>
        </pc:spChg>
        <pc:spChg chg="add del mod modVis">
          <ac:chgData name="Paul Jordan" userId="ed43b065-ed91-4d94-a70c-3ec7c0759f23" providerId="ADAL" clId="{2C32DC77-3316-5A44-99F4-3731869D0700}" dt="2023-01-19T02:31:28.912" v="7112"/>
          <ac:spMkLst>
            <pc:docMk/>
            <pc:sldMk cId="2795900345" sldId="267"/>
            <ac:spMk id="15" creationId="{063C4484-9F8A-1C1C-E54C-20DD32B067D7}"/>
          </ac:spMkLst>
        </pc:spChg>
        <pc:spChg chg="add del mod">
          <ac:chgData name="Paul Jordan" userId="ed43b065-ed91-4d94-a70c-3ec7c0759f23" providerId="ADAL" clId="{2C32DC77-3316-5A44-99F4-3731869D0700}" dt="2023-01-19T02:32:40.462" v="7138" actId="478"/>
          <ac:spMkLst>
            <pc:docMk/>
            <pc:sldMk cId="2795900345" sldId="267"/>
            <ac:spMk id="18" creationId="{11B1E143-A919-56DC-F86F-4D37B8D7DA48}"/>
          </ac:spMkLst>
        </pc:spChg>
        <pc:spChg chg="add mod">
          <ac:chgData name="Paul Jordan" userId="ed43b065-ed91-4d94-a70c-3ec7c0759f23" providerId="ADAL" clId="{2C32DC77-3316-5A44-99F4-3731869D0700}" dt="2023-01-19T04:48:57.137" v="7394" actId="113"/>
          <ac:spMkLst>
            <pc:docMk/>
            <pc:sldMk cId="2795900345" sldId="267"/>
            <ac:spMk id="22" creationId="{784B6F1B-0CC9-3687-117E-31CC8CBC2360}"/>
          </ac:spMkLst>
        </pc:spChg>
        <pc:spChg chg="add mod">
          <ac:chgData name="Paul Jordan" userId="ed43b065-ed91-4d94-a70c-3ec7c0759f23" providerId="ADAL" clId="{2C32DC77-3316-5A44-99F4-3731869D0700}" dt="2023-01-19T19:37:29.460" v="9159" actId="20577"/>
          <ac:spMkLst>
            <pc:docMk/>
            <pc:sldMk cId="2795900345" sldId="267"/>
            <ac:spMk id="23" creationId="{493C9E3F-85F1-7B7A-61C4-8E00FB7A59FE}"/>
          </ac:spMkLst>
        </pc:spChg>
        <pc:spChg chg="add del mod modVis">
          <ac:chgData name="Paul Jordan" userId="ed43b065-ed91-4d94-a70c-3ec7c0759f23" providerId="ADAL" clId="{2C32DC77-3316-5A44-99F4-3731869D0700}" dt="2023-01-19T04:50:09.028" v="7614"/>
          <ac:spMkLst>
            <pc:docMk/>
            <pc:sldMk cId="2795900345" sldId="267"/>
            <ac:spMk id="24" creationId="{CA9A8554-64BF-2EFC-4F40-4DB9C19D3141}"/>
          </ac:spMkLst>
        </pc:spChg>
        <pc:spChg chg="add del mod modVis">
          <ac:chgData name="Paul Jordan" userId="ed43b065-ed91-4d94-a70c-3ec7c0759f23" providerId="ADAL" clId="{2C32DC77-3316-5A44-99F4-3731869D0700}" dt="2023-01-19T04:50:11.820" v="7672"/>
          <ac:spMkLst>
            <pc:docMk/>
            <pc:sldMk cId="2795900345" sldId="267"/>
            <ac:spMk id="25" creationId="{721EEF5D-2C9A-3317-761B-8E8E6C177AA0}"/>
          </ac:spMkLst>
        </pc:spChg>
        <pc:spChg chg="add del mod modVis">
          <ac:chgData name="Paul Jordan" userId="ed43b065-ed91-4d94-a70c-3ec7c0759f23" providerId="ADAL" clId="{2C32DC77-3316-5A44-99F4-3731869D0700}" dt="2023-01-19T04:50:13.739" v="7725"/>
          <ac:spMkLst>
            <pc:docMk/>
            <pc:sldMk cId="2795900345" sldId="267"/>
            <ac:spMk id="26" creationId="{BE17BECE-0886-E2A9-4685-6E8CAD890C22}"/>
          </ac:spMkLst>
        </pc:spChg>
        <pc:spChg chg="add del mod modVis">
          <ac:chgData name="Paul Jordan" userId="ed43b065-ed91-4d94-a70c-3ec7c0759f23" providerId="ADAL" clId="{2C32DC77-3316-5A44-99F4-3731869D0700}" dt="2023-01-19T04:50:17.538" v="7793"/>
          <ac:spMkLst>
            <pc:docMk/>
            <pc:sldMk cId="2795900345" sldId="267"/>
            <ac:spMk id="27" creationId="{8019606A-D709-B03F-BADD-018912083FC5}"/>
          </ac:spMkLst>
        </pc:spChg>
        <pc:spChg chg="add del mod modVis">
          <ac:chgData name="Paul Jordan" userId="ed43b065-ed91-4d94-a70c-3ec7c0759f23" providerId="ADAL" clId="{2C32DC77-3316-5A44-99F4-3731869D0700}" dt="2023-01-19T04:50:24.189" v="7860"/>
          <ac:spMkLst>
            <pc:docMk/>
            <pc:sldMk cId="2795900345" sldId="267"/>
            <ac:spMk id="28" creationId="{85F917CF-1231-D8E0-37B5-541CF2E8F243}"/>
          </ac:spMkLst>
        </pc:spChg>
        <pc:spChg chg="add del mod modVis">
          <ac:chgData name="Paul Jordan" userId="ed43b065-ed91-4d94-a70c-3ec7c0759f23" providerId="ADAL" clId="{2C32DC77-3316-5A44-99F4-3731869D0700}" dt="2023-01-19T04:50:30.005" v="7919"/>
          <ac:spMkLst>
            <pc:docMk/>
            <pc:sldMk cId="2795900345" sldId="267"/>
            <ac:spMk id="29" creationId="{4BD8F537-7EC9-4E3E-D02F-F9C8ADFD4E77}"/>
          </ac:spMkLst>
        </pc:spChg>
        <pc:spChg chg="add del mod modVis">
          <ac:chgData name="Paul Jordan" userId="ed43b065-ed91-4d94-a70c-3ec7c0759f23" providerId="ADAL" clId="{2C32DC77-3316-5A44-99F4-3731869D0700}" dt="2023-01-19T04:50:32.911" v="7966"/>
          <ac:spMkLst>
            <pc:docMk/>
            <pc:sldMk cId="2795900345" sldId="267"/>
            <ac:spMk id="30" creationId="{80B8BCA2-17F0-C9BD-8BD5-B0C032A573C6}"/>
          </ac:spMkLst>
        </pc:spChg>
        <pc:spChg chg="add del mod modVis">
          <ac:chgData name="Paul Jordan" userId="ed43b065-ed91-4d94-a70c-3ec7c0759f23" providerId="ADAL" clId="{2C32DC77-3316-5A44-99F4-3731869D0700}" dt="2023-01-19T04:50:34.384" v="8015"/>
          <ac:spMkLst>
            <pc:docMk/>
            <pc:sldMk cId="2795900345" sldId="267"/>
            <ac:spMk id="31" creationId="{B22703DE-054E-2B71-4910-3B465A729A32}"/>
          </ac:spMkLst>
        </pc:spChg>
        <pc:spChg chg="add del mod modVis">
          <ac:chgData name="Paul Jordan" userId="ed43b065-ed91-4d94-a70c-3ec7c0759f23" providerId="ADAL" clId="{2C32DC77-3316-5A44-99F4-3731869D0700}" dt="2023-01-19T04:50:37.090" v="8066"/>
          <ac:spMkLst>
            <pc:docMk/>
            <pc:sldMk cId="2795900345" sldId="267"/>
            <ac:spMk id="32" creationId="{7EA9D7CE-E819-879F-4F9E-F222370C05D7}"/>
          </ac:spMkLst>
        </pc:spChg>
        <pc:spChg chg="add del mod modVis">
          <ac:chgData name="Paul Jordan" userId="ed43b065-ed91-4d94-a70c-3ec7c0759f23" providerId="ADAL" clId="{2C32DC77-3316-5A44-99F4-3731869D0700}" dt="2023-01-19T04:50:38.974" v="8123"/>
          <ac:spMkLst>
            <pc:docMk/>
            <pc:sldMk cId="2795900345" sldId="267"/>
            <ac:spMk id="33" creationId="{CC648B21-1F61-1F01-FAB4-6118F9632C57}"/>
          </ac:spMkLst>
        </pc:spChg>
        <pc:spChg chg="add del mod modVis">
          <ac:chgData name="Paul Jordan" userId="ed43b065-ed91-4d94-a70c-3ec7c0759f23" providerId="ADAL" clId="{2C32DC77-3316-5A44-99F4-3731869D0700}" dt="2023-01-19T04:50:40.525" v="8174"/>
          <ac:spMkLst>
            <pc:docMk/>
            <pc:sldMk cId="2795900345" sldId="267"/>
            <ac:spMk id="34" creationId="{84CEB28B-3F08-EF44-D5BA-3A72D0327903}"/>
          </ac:spMkLst>
        </pc:spChg>
        <pc:spChg chg="add del mod modVis">
          <ac:chgData name="Paul Jordan" userId="ed43b065-ed91-4d94-a70c-3ec7c0759f23" providerId="ADAL" clId="{2C32DC77-3316-5A44-99F4-3731869D0700}" dt="2023-01-19T04:50:45.582" v="8222"/>
          <ac:spMkLst>
            <pc:docMk/>
            <pc:sldMk cId="2795900345" sldId="267"/>
            <ac:spMk id="35" creationId="{0841DC49-8C47-C371-AEB7-516A9B49B3C2}"/>
          </ac:spMkLst>
        </pc:spChg>
        <pc:spChg chg="add del mod modVis">
          <ac:chgData name="Paul Jordan" userId="ed43b065-ed91-4d94-a70c-3ec7c0759f23" providerId="ADAL" clId="{2C32DC77-3316-5A44-99F4-3731869D0700}" dt="2023-01-19T04:50:46.782" v="8274"/>
          <ac:spMkLst>
            <pc:docMk/>
            <pc:sldMk cId="2795900345" sldId="267"/>
            <ac:spMk id="36" creationId="{AA464F73-4468-61D5-864A-7302818A0C2D}"/>
          </ac:spMkLst>
        </pc:spChg>
        <pc:spChg chg="add del mod modVis">
          <ac:chgData name="Paul Jordan" userId="ed43b065-ed91-4d94-a70c-3ec7c0759f23" providerId="ADAL" clId="{2C32DC77-3316-5A44-99F4-3731869D0700}" dt="2023-01-19T04:50:47.947" v="8320"/>
          <ac:spMkLst>
            <pc:docMk/>
            <pc:sldMk cId="2795900345" sldId="267"/>
            <ac:spMk id="37" creationId="{6C007B81-507F-C271-59FC-1767A897B025}"/>
          </ac:spMkLst>
        </pc:spChg>
        <pc:spChg chg="add del mod modVis">
          <ac:chgData name="Paul Jordan" userId="ed43b065-ed91-4d94-a70c-3ec7c0759f23" providerId="ADAL" clId="{2C32DC77-3316-5A44-99F4-3731869D0700}" dt="2023-01-19T04:50:49.763" v="8373"/>
          <ac:spMkLst>
            <pc:docMk/>
            <pc:sldMk cId="2795900345" sldId="267"/>
            <ac:spMk id="38" creationId="{9E329C87-D3EA-F60F-6A3E-FAE6BFE4BC41}"/>
          </ac:spMkLst>
        </pc:spChg>
        <pc:spChg chg="add del mod modVis">
          <ac:chgData name="Paul Jordan" userId="ed43b065-ed91-4d94-a70c-3ec7c0759f23" providerId="ADAL" clId="{2C32DC77-3316-5A44-99F4-3731869D0700}" dt="2023-01-19T04:51:04.864" v="8448"/>
          <ac:spMkLst>
            <pc:docMk/>
            <pc:sldMk cId="2795900345" sldId="267"/>
            <ac:spMk id="39" creationId="{526F8410-9F3C-6B58-4296-977C3503FD46}"/>
          </ac:spMkLst>
        </pc:spChg>
        <pc:spChg chg="add del mod modVis">
          <ac:chgData name="Paul Jordan" userId="ed43b065-ed91-4d94-a70c-3ec7c0759f23" providerId="ADAL" clId="{2C32DC77-3316-5A44-99F4-3731869D0700}" dt="2023-01-19T04:51:07.693" v="8494"/>
          <ac:spMkLst>
            <pc:docMk/>
            <pc:sldMk cId="2795900345" sldId="267"/>
            <ac:spMk id="40" creationId="{0131207C-165A-43D6-E013-DAF51B273A0A}"/>
          </ac:spMkLst>
        </pc:spChg>
        <pc:spChg chg="add del mod modVis">
          <ac:chgData name="Paul Jordan" userId="ed43b065-ed91-4d94-a70c-3ec7c0759f23" providerId="ADAL" clId="{2C32DC77-3316-5A44-99F4-3731869D0700}" dt="2023-01-19T04:51:32.874" v="8546"/>
          <ac:spMkLst>
            <pc:docMk/>
            <pc:sldMk cId="2795900345" sldId="267"/>
            <ac:spMk id="41" creationId="{465DA398-EC37-7999-C594-E4760A30856B}"/>
          </ac:spMkLst>
        </pc:spChg>
        <pc:spChg chg="add del mod modVis">
          <ac:chgData name="Paul Jordan" userId="ed43b065-ed91-4d94-a70c-3ec7c0759f23" providerId="ADAL" clId="{2C32DC77-3316-5A44-99F4-3731869D0700}" dt="2023-01-19T04:51:38.482" v="8593"/>
          <ac:spMkLst>
            <pc:docMk/>
            <pc:sldMk cId="2795900345" sldId="267"/>
            <ac:spMk id="42" creationId="{EE45E81C-2C0D-444E-6A91-67E9E555205F}"/>
          </ac:spMkLst>
        </pc:spChg>
        <pc:spChg chg="add del mod modVis">
          <ac:chgData name="Paul Jordan" userId="ed43b065-ed91-4d94-a70c-3ec7c0759f23" providerId="ADAL" clId="{2C32DC77-3316-5A44-99F4-3731869D0700}" dt="2023-01-19T04:51:48.103" v="8653"/>
          <ac:spMkLst>
            <pc:docMk/>
            <pc:sldMk cId="2795900345" sldId="267"/>
            <ac:spMk id="43" creationId="{7C1D83D1-3053-302F-6133-AC2E14E95F9D}"/>
          </ac:spMkLst>
        </pc:spChg>
        <pc:spChg chg="add del mod modVis">
          <ac:chgData name="Paul Jordan" userId="ed43b065-ed91-4d94-a70c-3ec7c0759f23" providerId="ADAL" clId="{2C32DC77-3316-5A44-99F4-3731869D0700}" dt="2023-01-19T04:51:50.632" v="8698"/>
          <ac:spMkLst>
            <pc:docMk/>
            <pc:sldMk cId="2795900345" sldId="267"/>
            <ac:spMk id="44" creationId="{C6F9EDE4-B0B3-5317-3F0C-AD66E01193E0}"/>
          </ac:spMkLst>
        </pc:spChg>
        <pc:spChg chg="add del mod modVis">
          <ac:chgData name="Paul Jordan" userId="ed43b065-ed91-4d94-a70c-3ec7c0759f23" providerId="ADAL" clId="{2C32DC77-3316-5A44-99F4-3731869D0700}" dt="2023-01-19T04:51:55.577" v="8749"/>
          <ac:spMkLst>
            <pc:docMk/>
            <pc:sldMk cId="2795900345" sldId="267"/>
            <ac:spMk id="45" creationId="{51F80F32-9BF7-5E64-6BD2-2E73AED1E77E}"/>
          </ac:spMkLst>
        </pc:spChg>
        <pc:spChg chg="add del mod modVis">
          <ac:chgData name="Paul Jordan" userId="ed43b065-ed91-4d94-a70c-3ec7c0759f23" providerId="ADAL" clId="{2C32DC77-3316-5A44-99F4-3731869D0700}" dt="2023-01-19T04:51:58.710" v="8809"/>
          <ac:spMkLst>
            <pc:docMk/>
            <pc:sldMk cId="2795900345" sldId="267"/>
            <ac:spMk id="46" creationId="{29D27EA9-A495-97C9-3584-15816333C9DB}"/>
          </ac:spMkLst>
        </pc:spChg>
        <pc:graphicFrameChg chg="add mod modVis replST">
          <ac:chgData name="Paul Jordan" userId="ed43b065-ed91-4d94-a70c-3ec7c0759f23" providerId="ADAL" clId="{2C32DC77-3316-5A44-99F4-3731869D0700}" dt="2023-01-19T04:51:58.713" v="8811"/>
          <ac:graphicFrameMkLst>
            <pc:docMk/>
            <pc:sldMk cId="2795900345" sldId="267"/>
            <ac:graphicFrameMk id="16" creationId="{8D767D99-F789-4C3A-DD3F-18EEC8A5288D}"/>
          </ac:graphicFrameMkLst>
        </pc:graphicFrameChg>
        <pc:picChg chg="add del mod">
          <ac:chgData name="Paul Jordan" userId="ed43b065-ed91-4d94-a70c-3ec7c0759f23" providerId="ADAL" clId="{2C32DC77-3316-5A44-99F4-3731869D0700}" dt="2023-01-19T01:54:12.912" v="7007" actId="478"/>
          <ac:picMkLst>
            <pc:docMk/>
            <pc:sldMk cId="2795900345" sldId="267"/>
            <ac:picMk id="5" creationId="{F1FCDE9E-D87E-0143-1077-1E92AF78F42D}"/>
          </ac:picMkLst>
        </pc:picChg>
        <pc:picChg chg="add del mod">
          <ac:chgData name="Paul Jordan" userId="ed43b065-ed91-4d94-a70c-3ec7c0759f23" providerId="ADAL" clId="{2C32DC77-3316-5A44-99F4-3731869D0700}" dt="2023-01-19T01:54:12.912" v="7007" actId="478"/>
          <ac:picMkLst>
            <pc:docMk/>
            <pc:sldMk cId="2795900345" sldId="267"/>
            <ac:picMk id="6" creationId="{4C133AA5-0F65-7B4F-49C1-B4DECACF801E}"/>
          </ac:picMkLst>
        </pc:picChg>
        <pc:picChg chg="add mod">
          <ac:chgData name="Paul Jordan" userId="ed43b065-ed91-4d94-a70c-3ec7c0759f23" providerId="ADAL" clId="{2C32DC77-3316-5A44-99F4-3731869D0700}" dt="2023-01-19T02:31:28.909" v="7105"/>
          <ac:picMkLst>
            <pc:docMk/>
            <pc:sldMk cId="2795900345" sldId="267"/>
            <ac:picMk id="7" creationId="{7BA6D83A-5BEC-E7D1-CEB0-7B3DE6B4B06D}"/>
          </ac:picMkLst>
        </pc:picChg>
        <pc:picChg chg="add mod">
          <ac:chgData name="Paul Jordan" userId="ed43b065-ed91-4d94-a70c-3ec7c0759f23" providerId="ADAL" clId="{2C32DC77-3316-5A44-99F4-3731869D0700}" dt="2023-01-19T02:34:15.109" v="7215" actId="408"/>
          <ac:picMkLst>
            <pc:docMk/>
            <pc:sldMk cId="2795900345" sldId="267"/>
            <ac:picMk id="8" creationId="{EDBF5836-9621-DBF7-B586-AAA61AFC15F3}"/>
          </ac:picMkLst>
        </pc:picChg>
        <pc:picChg chg="add mod">
          <ac:chgData name="Paul Jordan" userId="ed43b065-ed91-4d94-a70c-3ec7c0759f23" providerId="ADAL" clId="{2C32DC77-3316-5A44-99F4-3731869D0700}" dt="2023-01-19T02:33:32.322" v="7171"/>
          <ac:picMkLst>
            <pc:docMk/>
            <pc:sldMk cId="2795900345" sldId="267"/>
            <ac:picMk id="9" creationId="{888B47C1-4199-0FF5-0711-B508DDF6C4FE}"/>
          </ac:picMkLst>
        </pc:picChg>
        <pc:picChg chg="add del mod">
          <ac:chgData name="Paul Jordan" userId="ed43b065-ed91-4d94-a70c-3ec7c0759f23" providerId="ADAL" clId="{2C32DC77-3316-5A44-99F4-3731869D0700}" dt="2023-01-19T02:31:26.076" v="7063" actId="478"/>
          <ac:picMkLst>
            <pc:docMk/>
            <pc:sldMk cId="2795900345" sldId="267"/>
            <ac:picMk id="10" creationId="{19CD9523-EDD6-FE11-34FA-958EB9270593}"/>
          </ac:picMkLst>
        </pc:picChg>
        <pc:picChg chg="add mod">
          <ac:chgData name="Paul Jordan" userId="ed43b065-ed91-4d94-a70c-3ec7c0759f23" providerId="ADAL" clId="{2C32DC77-3316-5A44-99F4-3731869D0700}" dt="2023-01-19T02:34:15.109" v="7215" actId="408"/>
          <ac:picMkLst>
            <pc:docMk/>
            <pc:sldMk cId="2795900345" sldId="267"/>
            <ac:picMk id="12" creationId="{745480A2-FCEF-7275-F84E-8B64BCEBCD3F}"/>
          </ac:picMkLst>
        </pc:picChg>
        <pc:cxnChg chg="add del mod">
          <ac:chgData name="Paul Jordan" userId="ed43b065-ed91-4d94-a70c-3ec7c0759f23" providerId="ADAL" clId="{2C32DC77-3316-5A44-99F4-3731869D0700}" dt="2023-01-19T02:34:15.109" v="7215" actId="408"/>
          <ac:cxnSpMkLst>
            <pc:docMk/>
            <pc:sldMk cId="2795900345" sldId="267"/>
            <ac:cxnSpMk id="17" creationId="{7F685F03-DA7C-886B-EC91-E5C48943359E}"/>
          </ac:cxnSpMkLst>
        </pc:cxnChg>
        <pc:cxnChg chg="add del mod">
          <ac:chgData name="Paul Jordan" userId="ed43b065-ed91-4d94-a70c-3ec7c0759f23" providerId="ADAL" clId="{2C32DC77-3316-5A44-99F4-3731869D0700}" dt="2023-01-19T02:33:40.080" v="7173" actId="478"/>
          <ac:cxnSpMkLst>
            <pc:docMk/>
            <pc:sldMk cId="2795900345" sldId="267"/>
            <ac:cxnSpMk id="19" creationId="{6D363F55-6F31-FC50-03C0-E228AAF5BD59}"/>
          </ac:cxnSpMkLst>
        </pc:cxnChg>
      </pc:sldChg>
      <pc:sldChg chg="addSp delSp modSp mod ord">
        <pc:chgData name="Paul Jordan" userId="ed43b065-ed91-4d94-a70c-3ec7c0759f23" providerId="ADAL" clId="{2C32DC77-3316-5A44-99F4-3731869D0700}" dt="2023-01-20T14:19:59.325" v="15718" actId="20577"/>
        <pc:sldMkLst>
          <pc:docMk/>
          <pc:sldMk cId="3205980196" sldId="268"/>
        </pc:sldMkLst>
        <pc:spChg chg="mod">
          <ac:chgData name="Paul Jordan" userId="ed43b065-ed91-4d94-a70c-3ec7c0759f23" providerId="ADAL" clId="{2C32DC77-3316-5A44-99F4-3731869D0700}" dt="2023-01-20T03:38:36.951" v="11700" actId="948"/>
          <ac:spMkLst>
            <pc:docMk/>
            <pc:sldMk cId="3205980196" sldId="268"/>
            <ac:spMk id="2" creationId="{0FCA8915-49F5-B0A7-3E79-B63CE49D5147}"/>
          </ac:spMkLst>
        </pc:spChg>
        <pc:spChg chg="add del">
          <ac:chgData name="Paul Jordan" userId="ed43b065-ed91-4d94-a70c-3ec7c0759f23" providerId="ADAL" clId="{2C32DC77-3316-5A44-99F4-3731869D0700}" dt="2023-01-20T03:30:11" v="11077" actId="478"/>
          <ac:spMkLst>
            <pc:docMk/>
            <pc:sldMk cId="3205980196" sldId="268"/>
            <ac:spMk id="4" creationId="{844A053E-9011-0832-6F33-78B7FF44C484}"/>
          </ac:spMkLst>
        </pc:spChg>
        <pc:spChg chg="add del mod">
          <ac:chgData name="Paul Jordan" userId="ed43b065-ed91-4d94-a70c-3ec7c0759f23" providerId="ADAL" clId="{2C32DC77-3316-5A44-99F4-3731869D0700}" dt="2023-01-19T01:42:37.575" v="6989" actId="478"/>
          <ac:spMkLst>
            <pc:docMk/>
            <pc:sldMk cId="3205980196" sldId="268"/>
            <ac:spMk id="4" creationId="{9FA1507E-54D8-094B-3866-50C88D809493}"/>
          </ac:spMkLst>
        </pc:spChg>
        <pc:spChg chg="mod">
          <ac:chgData name="Paul Jordan" userId="ed43b065-ed91-4d94-a70c-3ec7c0759f23" providerId="ADAL" clId="{2C32DC77-3316-5A44-99F4-3731869D0700}" dt="2023-01-20T14:19:59.325" v="15718" actId="20577"/>
          <ac:spMkLst>
            <pc:docMk/>
            <pc:sldMk cId="3205980196" sldId="268"/>
            <ac:spMk id="6" creationId="{1381CC33-AC0E-E872-6009-D1145E7F5860}"/>
          </ac:spMkLst>
        </pc:spChg>
        <pc:spChg chg="mod">
          <ac:chgData name="Paul Jordan" userId="ed43b065-ed91-4d94-a70c-3ec7c0759f23" providerId="ADAL" clId="{2C32DC77-3316-5A44-99F4-3731869D0700}" dt="2023-01-20T04:14:34.060" v="13306" actId="20577"/>
          <ac:spMkLst>
            <pc:docMk/>
            <pc:sldMk cId="3205980196" sldId="268"/>
            <ac:spMk id="9" creationId="{B16F16B9-761B-F307-D634-A4EAA8F3060C}"/>
          </ac:spMkLst>
        </pc:spChg>
        <pc:spChg chg="mod">
          <ac:chgData name="Paul Jordan" userId="ed43b065-ed91-4d94-a70c-3ec7c0759f23" providerId="ADAL" clId="{2C32DC77-3316-5A44-99F4-3731869D0700}" dt="2023-01-20T04:32:40.919" v="13952" actId="20577"/>
          <ac:spMkLst>
            <pc:docMk/>
            <pc:sldMk cId="3205980196" sldId="268"/>
            <ac:spMk id="10" creationId="{4DBA6675-BDA7-9AFB-0030-134699EAB71E}"/>
          </ac:spMkLst>
        </pc:spChg>
        <pc:spChg chg="mod">
          <ac:chgData name="Paul Jordan" userId="ed43b065-ed91-4d94-a70c-3ec7c0759f23" providerId="ADAL" clId="{2C32DC77-3316-5A44-99F4-3731869D0700}" dt="2023-01-20T04:09:06.948" v="13155" actId="207"/>
          <ac:spMkLst>
            <pc:docMk/>
            <pc:sldMk cId="3205980196" sldId="268"/>
            <ac:spMk id="13" creationId="{023A9A77-F867-5A12-08B4-653D02ADA129}"/>
          </ac:spMkLst>
        </pc:spChg>
        <pc:spChg chg="mod">
          <ac:chgData name="Paul Jordan" userId="ed43b065-ed91-4d94-a70c-3ec7c0759f23" providerId="ADAL" clId="{2C32DC77-3316-5A44-99F4-3731869D0700}" dt="2023-01-20T04:32:55.625" v="13954" actId="20577"/>
          <ac:spMkLst>
            <pc:docMk/>
            <pc:sldMk cId="3205980196" sldId="268"/>
            <ac:spMk id="14" creationId="{B29C6593-7EBE-4367-EEA7-EC6BB46FA621}"/>
          </ac:spMkLst>
        </pc:spChg>
        <pc:spChg chg="mod">
          <ac:chgData name="Paul Jordan" userId="ed43b065-ed91-4d94-a70c-3ec7c0759f23" providerId="ADAL" clId="{2C32DC77-3316-5A44-99F4-3731869D0700}" dt="2023-01-20T04:09:06.948" v="13155" actId="207"/>
          <ac:spMkLst>
            <pc:docMk/>
            <pc:sldMk cId="3205980196" sldId="268"/>
            <ac:spMk id="17" creationId="{0DEB3184-65C2-1D25-20FA-0D98F7D21E55}"/>
          </ac:spMkLst>
        </pc:spChg>
        <pc:spChg chg="del mod">
          <ac:chgData name="Paul Jordan" userId="ed43b065-ed91-4d94-a70c-3ec7c0759f23" providerId="ADAL" clId="{2C32DC77-3316-5A44-99F4-3731869D0700}" dt="2023-01-20T04:12:57.011" v="13275" actId="478"/>
          <ac:spMkLst>
            <pc:docMk/>
            <pc:sldMk cId="3205980196" sldId="268"/>
            <ac:spMk id="21" creationId="{215AD125-D19C-EB28-11E7-C7E462187145}"/>
          </ac:spMkLst>
        </pc:spChg>
        <pc:spChg chg="mod">
          <ac:chgData name="Paul Jordan" userId="ed43b065-ed91-4d94-a70c-3ec7c0759f23" providerId="ADAL" clId="{2C32DC77-3316-5A44-99F4-3731869D0700}" dt="2023-01-20T04:08:43.281" v="13135"/>
          <ac:spMkLst>
            <pc:docMk/>
            <pc:sldMk cId="3205980196" sldId="268"/>
            <ac:spMk id="23" creationId="{6CD83CDE-13CF-2DC7-35EA-F882007AD056}"/>
          </ac:spMkLst>
        </pc:spChg>
        <pc:spChg chg="mod">
          <ac:chgData name="Paul Jordan" userId="ed43b065-ed91-4d94-a70c-3ec7c0759f23" providerId="ADAL" clId="{2C32DC77-3316-5A44-99F4-3731869D0700}" dt="2023-01-20T04:08:43.281" v="13135"/>
          <ac:spMkLst>
            <pc:docMk/>
            <pc:sldMk cId="3205980196" sldId="268"/>
            <ac:spMk id="24" creationId="{37338FA3-0FC7-5641-D303-74DA2D397DE5}"/>
          </ac:spMkLst>
        </pc:spChg>
        <pc:spChg chg="mod">
          <ac:chgData name="Paul Jordan" userId="ed43b065-ed91-4d94-a70c-3ec7c0759f23" providerId="ADAL" clId="{2C32DC77-3316-5A44-99F4-3731869D0700}" dt="2023-01-20T04:12:49.635" v="13274"/>
          <ac:spMkLst>
            <pc:docMk/>
            <pc:sldMk cId="3205980196" sldId="268"/>
            <ac:spMk id="28" creationId="{215FC472-8814-2A82-D247-93A9BF9EAFCB}"/>
          </ac:spMkLst>
        </pc:spChg>
        <pc:spChg chg="mod">
          <ac:chgData name="Paul Jordan" userId="ed43b065-ed91-4d94-a70c-3ec7c0759f23" providerId="ADAL" clId="{2C32DC77-3316-5A44-99F4-3731869D0700}" dt="2023-01-20T04:12:49.635" v="13274"/>
          <ac:spMkLst>
            <pc:docMk/>
            <pc:sldMk cId="3205980196" sldId="268"/>
            <ac:spMk id="30" creationId="{2671AA52-3333-E40B-1732-7CBD9CE1C1D9}"/>
          </ac:spMkLst>
        </pc:spChg>
        <pc:spChg chg="mod">
          <ac:chgData name="Paul Jordan" userId="ed43b065-ed91-4d94-a70c-3ec7c0759f23" providerId="ADAL" clId="{2C32DC77-3316-5A44-99F4-3731869D0700}" dt="2023-01-20T04:12:49.635" v="13274"/>
          <ac:spMkLst>
            <pc:docMk/>
            <pc:sldMk cId="3205980196" sldId="268"/>
            <ac:spMk id="31" creationId="{1A71FF59-DAD2-AA2C-9CF3-435063521F78}"/>
          </ac:spMkLst>
        </pc:spChg>
        <pc:spChg chg="add del mod modVis">
          <ac:chgData name="Paul Jordan" userId="ed43b065-ed91-4d94-a70c-3ec7c0759f23" providerId="ADAL" clId="{2C32DC77-3316-5A44-99F4-3731869D0700}" dt="2023-01-20T03:38:36.996" v="11741"/>
          <ac:spMkLst>
            <pc:docMk/>
            <pc:sldMk cId="3205980196" sldId="268"/>
            <ac:spMk id="46" creationId="{CCADF46A-8E88-B7D7-AE51-50B436213544}"/>
          </ac:spMkLst>
        </pc:spChg>
        <pc:spChg chg="add del mod">
          <ac:chgData name="Paul Jordan" userId="ed43b065-ed91-4d94-a70c-3ec7c0759f23" providerId="ADAL" clId="{2C32DC77-3316-5A44-99F4-3731869D0700}" dt="2023-01-20T03:43:58.054" v="11870" actId="478"/>
          <ac:spMkLst>
            <pc:docMk/>
            <pc:sldMk cId="3205980196" sldId="268"/>
            <ac:spMk id="47" creationId="{4A50138D-ECA7-054E-F2DA-FB7E3A234D97}"/>
          </ac:spMkLst>
        </pc:spChg>
        <pc:spChg chg="mod">
          <ac:chgData name="Paul Jordan" userId="ed43b065-ed91-4d94-a70c-3ec7c0759f23" providerId="ADAL" clId="{2C32DC77-3316-5A44-99F4-3731869D0700}" dt="2023-01-20T04:13:34.388" v="13284"/>
          <ac:spMkLst>
            <pc:docMk/>
            <pc:sldMk cId="3205980196" sldId="268"/>
            <ac:spMk id="50" creationId="{37BB1E33-2E64-D43B-76C0-A94831A4FE94}"/>
          </ac:spMkLst>
        </pc:spChg>
        <pc:spChg chg="mod">
          <ac:chgData name="Paul Jordan" userId="ed43b065-ed91-4d94-a70c-3ec7c0759f23" providerId="ADAL" clId="{2C32DC77-3316-5A44-99F4-3731869D0700}" dt="2023-01-20T04:13:34.388" v="13284"/>
          <ac:spMkLst>
            <pc:docMk/>
            <pc:sldMk cId="3205980196" sldId="268"/>
            <ac:spMk id="52" creationId="{DBB3EF9E-87EC-ACAB-0458-67F3A64A8246}"/>
          </ac:spMkLst>
        </pc:spChg>
        <pc:spChg chg="mod">
          <ac:chgData name="Paul Jordan" userId="ed43b065-ed91-4d94-a70c-3ec7c0759f23" providerId="ADAL" clId="{2C32DC77-3316-5A44-99F4-3731869D0700}" dt="2023-01-20T04:13:34.388" v="13284"/>
          <ac:spMkLst>
            <pc:docMk/>
            <pc:sldMk cId="3205980196" sldId="268"/>
            <ac:spMk id="53" creationId="{BD8C4A2A-0A23-E95D-3C92-4495E5E0A91C}"/>
          </ac:spMkLst>
        </pc:spChg>
        <pc:grpChg chg="mod">
          <ac:chgData name="Paul Jordan" userId="ed43b065-ed91-4d94-a70c-3ec7c0759f23" providerId="ADAL" clId="{2C32DC77-3316-5A44-99F4-3731869D0700}" dt="2023-01-20T04:13:30.139" v="13280" actId="408"/>
          <ac:grpSpMkLst>
            <pc:docMk/>
            <pc:sldMk cId="3205980196" sldId="268"/>
            <ac:grpSpMk id="11" creationId="{4B17B53E-41CF-3105-EB5F-9E41D3736E91}"/>
          </ac:grpSpMkLst>
        </pc:grpChg>
        <pc:grpChg chg="mod">
          <ac:chgData name="Paul Jordan" userId="ed43b065-ed91-4d94-a70c-3ec7c0759f23" providerId="ADAL" clId="{2C32DC77-3316-5A44-99F4-3731869D0700}" dt="2023-01-20T04:13:30.139" v="13280" actId="408"/>
          <ac:grpSpMkLst>
            <pc:docMk/>
            <pc:sldMk cId="3205980196" sldId="268"/>
            <ac:grpSpMk id="15" creationId="{D637C13F-C229-BDB8-A05B-8D5F3174FF22}"/>
          </ac:grpSpMkLst>
        </pc:grpChg>
        <pc:grpChg chg="del mod">
          <ac:chgData name="Paul Jordan" userId="ed43b065-ed91-4d94-a70c-3ec7c0759f23" providerId="ADAL" clId="{2C32DC77-3316-5A44-99F4-3731869D0700}" dt="2023-01-20T04:13:08.524" v="13276" actId="478"/>
          <ac:grpSpMkLst>
            <pc:docMk/>
            <pc:sldMk cId="3205980196" sldId="268"/>
            <ac:grpSpMk id="18" creationId="{9B62862F-764A-2B8F-91A9-442694DEE6D7}"/>
          </ac:grpSpMkLst>
        </pc:grpChg>
        <pc:grpChg chg="del mod">
          <ac:chgData name="Paul Jordan" userId="ed43b065-ed91-4d94-a70c-3ec7c0759f23" providerId="ADAL" clId="{2C32DC77-3316-5A44-99F4-3731869D0700}" dt="2023-01-20T04:12:57.011" v="13275" actId="478"/>
          <ac:grpSpMkLst>
            <pc:docMk/>
            <pc:sldMk cId="3205980196" sldId="268"/>
            <ac:grpSpMk id="20" creationId="{6866D075-61CA-8EEE-3B4B-46EB4306FAAC}"/>
          </ac:grpSpMkLst>
        </pc:grpChg>
        <pc:grpChg chg="del mod topLvl">
          <ac:chgData name="Paul Jordan" userId="ed43b065-ed91-4d94-a70c-3ec7c0759f23" providerId="ADAL" clId="{2C32DC77-3316-5A44-99F4-3731869D0700}" dt="2023-01-20T04:13:10.289" v="13277" actId="478"/>
          <ac:grpSpMkLst>
            <pc:docMk/>
            <pc:sldMk cId="3205980196" sldId="268"/>
            <ac:grpSpMk id="22" creationId="{9F4B468C-E1DD-590C-0818-AE90CFAE465B}"/>
          </ac:grpSpMkLst>
        </pc:grpChg>
        <pc:grpChg chg="del mod">
          <ac:chgData name="Paul Jordan" userId="ed43b065-ed91-4d94-a70c-3ec7c0759f23" providerId="ADAL" clId="{2C32DC77-3316-5A44-99F4-3731869D0700}" dt="2023-01-20T04:12:44.241" v="13270" actId="165"/>
          <ac:grpSpMkLst>
            <pc:docMk/>
            <pc:sldMk cId="3205980196" sldId="268"/>
            <ac:grpSpMk id="25" creationId="{FC877F52-FB13-9693-22EE-DBE7662AB308}"/>
          </ac:grpSpMkLst>
        </pc:grpChg>
        <pc:grpChg chg="mod topLvl">
          <ac:chgData name="Paul Jordan" userId="ed43b065-ed91-4d94-a70c-3ec7c0759f23" providerId="ADAL" clId="{2C32DC77-3316-5A44-99F4-3731869D0700}" dt="2023-01-20T04:12:49.635" v="13274"/>
          <ac:grpSpMkLst>
            <pc:docMk/>
            <pc:sldMk cId="3205980196" sldId="268"/>
            <ac:grpSpMk id="27" creationId="{8F38604B-8998-2C4D-7B87-F3CC2C5EE132}"/>
          </ac:grpSpMkLst>
        </pc:grpChg>
        <pc:grpChg chg="mod">
          <ac:chgData name="Paul Jordan" userId="ed43b065-ed91-4d94-a70c-3ec7c0759f23" providerId="ADAL" clId="{2C32DC77-3316-5A44-99F4-3731869D0700}" dt="2023-01-20T04:12:49.635" v="13274"/>
          <ac:grpSpMkLst>
            <pc:docMk/>
            <pc:sldMk cId="3205980196" sldId="268"/>
            <ac:grpSpMk id="29" creationId="{B5825938-9157-50F8-12B7-91E849C48626}"/>
          </ac:grpSpMkLst>
        </pc:grpChg>
        <pc:grpChg chg="add mod">
          <ac:chgData name="Paul Jordan" userId="ed43b065-ed91-4d94-a70c-3ec7c0759f23" providerId="ADAL" clId="{2C32DC77-3316-5A44-99F4-3731869D0700}" dt="2023-01-20T04:13:34.388" v="13284"/>
          <ac:grpSpMkLst>
            <pc:docMk/>
            <pc:sldMk cId="3205980196" sldId="268"/>
            <ac:grpSpMk id="49" creationId="{293BAFDC-80D5-B5F1-1648-16179C306658}"/>
          </ac:grpSpMkLst>
        </pc:grpChg>
        <pc:grpChg chg="mod">
          <ac:chgData name="Paul Jordan" userId="ed43b065-ed91-4d94-a70c-3ec7c0759f23" providerId="ADAL" clId="{2C32DC77-3316-5A44-99F4-3731869D0700}" dt="2023-01-20T04:13:34.388" v="13284"/>
          <ac:grpSpMkLst>
            <pc:docMk/>
            <pc:sldMk cId="3205980196" sldId="268"/>
            <ac:grpSpMk id="51" creationId="{92390226-22D8-15DC-F6FD-2BEB8AE1A416}"/>
          </ac:grpSpMkLst>
        </pc:grpChg>
        <pc:graphicFrameChg chg="mod">
          <ac:chgData name="Paul Jordan" userId="ed43b065-ed91-4d94-a70c-3ec7c0759f23" providerId="ADAL" clId="{2C32DC77-3316-5A44-99F4-3731869D0700}" dt="2023-01-20T03:38:37.005" v="11743"/>
          <ac:graphicFrameMkLst>
            <pc:docMk/>
            <pc:sldMk cId="3205980196" sldId="268"/>
            <ac:graphicFrameMk id="5" creationId="{F3F434E7-74BA-087F-1BD5-FE832AA1E591}"/>
          </ac:graphicFrameMkLst>
        </pc:graphicFrameChg>
        <pc:picChg chg="del">
          <ac:chgData name="Paul Jordan" userId="ed43b065-ed91-4d94-a70c-3ec7c0759f23" providerId="ADAL" clId="{2C32DC77-3316-5A44-99F4-3731869D0700}" dt="2023-01-20T03:32:37.286" v="11161" actId="478"/>
          <ac:picMkLst>
            <pc:docMk/>
            <pc:sldMk cId="3205980196" sldId="268"/>
            <ac:picMk id="33" creationId="{45D385A0-8C63-DDE2-76E0-F985673983E8}"/>
          </ac:picMkLst>
        </pc:picChg>
        <pc:picChg chg="add del mod">
          <ac:chgData name="Paul Jordan" userId="ed43b065-ed91-4d94-a70c-3ec7c0759f23" providerId="ADAL" clId="{2C32DC77-3316-5A44-99F4-3731869D0700}" dt="2023-01-20T04:15:00.537" v="13312" actId="478"/>
          <ac:picMkLst>
            <pc:docMk/>
            <pc:sldMk cId="3205980196" sldId="268"/>
            <ac:picMk id="34" creationId="{DCD43826-EFB7-F94B-05D1-92D909939185}"/>
          </ac:picMkLst>
        </pc:picChg>
        <pc:picChg chg="del">
          <ac:chgData name="Paul Jordan" userId="ed43b065-ed91-4d94-a70c-3ec7c0759f23" providerId="ADAL" clId="{2C32DC77-3316-5A44-99F4-3731869D0700}" dt="2023-01-20T03:32:37.286" v="11161" actId="478"/>
          <ac:picMkLst>
            <pc:docMk/>
            <pc:sldMk cId="3205980196" sldId="268"/>
            <ac:picMk id="35" creationId="{2004F13B-1E1D-7A92-E6B0-77FA1D2D0DC3}"/>
          </ac:picMkLst>
        </pc:picChg>
        <pc:picChg chg="add del mod">
          <ac:chgData name="Paul Jordan" userId="ed43b065-ed91-4d94-a70c-3ec7c0759f23" providerId="ADAL" clId="{2C32DC77-3316-5A44-99F4-3731869D0700}" dt="2023-01-20T04:15:00.537" v="13312" actId="478"/>
          <ac:picMkLst>
            <pc:docMk/>
            <pc:sldMk cId="3205980196" sldId="268"/>
            <ac:picMk id="37" creationId="{9DB4257B-E016-4CB1-29DA-7A920326559B}"/>
          </ac:picMkLst>
        </pc:picChg>
        <pc:picChg chg="add del mod">
          <ac:chgData name="Paul Jordan" userId="ed43b065-ed91-4d94-a70c-3ec7c0759f23" providerId="ADAL" clId="{2C32DC77-3316-5A44-99F4-3731869D0700}" dt="2023-01-20T03:33:25.637" v="11169" actId="478"/>
          <ac:picMkLst>
            <pc:docMk/>
            <pc:sldMk cId="3205980196" sldId="268"/>
            <ac:picMk id="39" creationId="{CD56A0C8-804E-E01F-E70C-CDB366E3F8BA}"/>
          </ac:picMkLst>
        </pc:picChg>
        <pc:picChg chg="add mod">
          <ac:chgData name="Paul Jordan" userId="ed43b065-ed91-4d94-a70c-3ec7c0759f23" providerId="ADAL" clId="{2C32DC77-3316-5A44-99F4-3731869D0700}" dt="2023-01-20T04:08:53.356" v="13139" actId="207"/>
          <ac:picMkLst>
            <pc:docMk/>
            <pc:sldMk cId="3205980196" sldId="268"/>
            <ac:picMk id="41" creationId="{39D4F2E9-AD55-B110-912B-A6E2E1F5C77F}"/>
          </ac:picMkLst>
        </pc:picChg>
        <pc:picChg chg="add mod">
          <ac:chgData name="Paul Jordan" userId="ed43b065-ed91-4d94-a70c-3ec7c0759f23" providerId="ADAL" clId="{2C32DC77-3316-5A44-99F4-3731869D0700}" dt="2023-01-20T04:08:56.599" v="13146" actId="1036"/>
          <ac:picMkLst>
            <pc:docMk/>
            <pc:sldMk cId="3205980196" sldId="268"/>
            <ac:picMk id="43" creationId="{59A27BFE-BC45-7D5F-33C9-E270D5528245}"/>
          </ac:picMkLst>
        </pc:picChg>
        <pc:picChg chg="add mod">
          <ac:chgData name="Paul Jordan" userId="ed43b065-ed91-4d94-a70c-3ec7c0759f23" providerId="ADAL" clId="{2C32DC77-3316-5A44-99F4-3731869D0700}" dt="2023-01-20T04:08:59.638" v="13154" actId="1035"/>
          <ac:picMkLst>
            <pc:docMk/>
            <pc:sldMk cId="3205980196" sldId="268"/>
            <ac:picMk id="45" creationId="{44ADCD0F-306B-50C5-82F2-F4FA15992683}"/>
          </ac:picMkLst>
        </pc:picChg>
        <pc:cxnChg chg="del mod topLvl">
          <ac:chgData name="Paul Jordan" userId="ed43b065-ed91-4d94-a70c-3ec7c0759f23" providerId="ADAL" clId="{2C32DC77-3316-5A44-99F4-3731869D0700}" dt="2023-01-20T04:13:08.524" v="13276" actId="478"/>
          <ac:cxnSpMkLst>
            <pc:docMk/>
            <pc:sldMk cId="3205980196" sldId="268"/>
            <ac:cxnSpMk id="19" creationId="{B3E8BECF-841D-4962-B0A6-84C1E507CCBB}"/>
          </ac:cxnSpMkLst>
        </pc:cxnChg>
        <pc:cxnChg chg="mod topLvl">
          <ac:chgData name="Paul Jordan" userId="ed43b065-ed91-4d94-a70c-3ec7c0759f23" providerId="ADAL" clId="{2C32DC77-3316-5A44-99F4-3731869D0700}" dt="2023-01-20T04:12:44.241" v="13270" actId="165"/>
          <ac:cxnSpMkLst>
            <pc:docMk/>
            <pc:sldMk cId="3205980196" sldId="268"/>
            <ac:cxnSpMk id="26" creationId="{43CC76ED-F899-2C7D-B526-94459A153B1A}"/>
          </ac:cxnSpMkLst>
        </pc:cxnChg>
        <pc:cxnChg chg="add mod">
          <ac:chgData name="Paul Jordan" userId="ed43b065-ed91-4d94-a70c-3ec7c0759f23" providerId="ADAL" clId="{2C32DC77-3316-5A44-99F4-3731869D0700}" dt="2023-01-20T04:13:30.139" v="13280" actId="408"/>
          <ac:cxnSpMkLst>
            <pc:docMk/>
            <pc:sldMk cId="3205980196" sldId="268"/>
            <ac:cxnSpMk id="48" creationId="{EBD15CC1-7C59-FA74-411E-DD3AE7A04847}"/>
          </ac:cxnSpMkLst>
        </pc:cxnChg>
      </pc:sldChg>
      <pc:sldChg chg="modSp mod">
        <pc:chgData name="Paul Jordan" userId="ed43b065-ed91-4d94-a70c-3ec7c0759f23" providerId="ADAL" clId="{2C32DC77-3316-5A44-99F4-3731869D0700}" dt="2023-01-19T19:46:15.794" v="9509" actId="1076"/>
        <pc:sldMkLst>
          <pc:docMk/>
          <pc:sldMk cId="153711516" sldId="269"/>
        </pc:sldMkLst>
        <pc:spChg chg="mod">
          <ac:chgData name="Paul Jordan" userId="ed43b065-ed91-4d94-a70c-3ec7c0759f23" providerId="ADAL" clId="{2C32DC77-3316-5A44-99F4-3731869D0700}" dt="2023-01-19T19:46:15.794" v="9509" actId="1076"/>
          <ac:spMkLst>
            <pc:docMk/>
            <pc:sldMk cId="153711516" sldId="269"/>
            <ac:spMk id="4" creationId="{3ED67625-2AD9-5334-0069-BAB64CE2B6FB}"/>
          </ac:spMkLst>
        </pc:spChg>
      </pc:sldChg>
      <pc:sldChg chg="addSp delSp modSp add del mod">
        <pc:chgData name="Paul Jordan" userId="ed43b065-ed91-4d94-a70c-3ec7c0759f23" providerId="ADAL" clId="{2C32DC77-3316-5A44-99F4-3731869D0700}" dt="2023-01-20T04:07:47.536" v="13078" actId="2696"/>
        <pc:sldMkLst>
          <pc:docMk/>
          <pc:sldMk cId="2258709342" sldId="270"/>
        </pc:sldMkLst>
        <pc:spChg chg="mod">
          <ac:chgData name="Paul Jordan" userId="ed43b065-ed91-4d94-a70c-3ec7c0759f23" providerId="ADAL" clId="{2C32DC77-3316-5A44-99F4-3731869D0700}" dt="2023-01-20T04:00:50.792" v="12561" actId="1035"/>
          <ac:spMkLst>
            <pc:docMk/>
            <pc:sldMk cId="2258709342" sldId="270"/>
            <ac:spMk id="6" creationId="{1381CC33-AC0E-E872-6009-D1145E7F5860}"/>
          </ac:spMkLst>
        </pc:spChg>
        <pc:spChg chg="mod">
          <ac:chgData name="Paul Jordan" userId="ed43b065-ed91-4d94-a70c-3ec7c0759f23" providerId="ADAL" clId="{2C32DC77-3316-5A44-99F4-3731869D0700}" dt="2023-01-20T04:04:39.721" v="12707" actId="207"/>
          <ac:spMkLst>
            <pc:docMk/>
            <pc:sldMk cId="2258709342" sldId="270"/>
            <ac:spMk id="9" creationId="{B16F16B9-761B-F307-D634-A4EAA8F3060C}"/>
          </ac:spMkLst>
        </pc:spChg>
        <pc:spChg chg="mod">
          <ac:chgData name="Paul Jordan" userId="ed43b065-ed91-4d94-a70c-3ec7c0759f23" providerId="ADAL" clId="{2C32DC77-3316-5A44-99F4-3731869D0700}" dt="2023-01-20T04:05:36.257" v="12746" actId="1035"/>
          <ac:spMkLst>
            <pc:docMk/>
            <pc:sldMk cId="2258709342" sldId="270"/>
            <ac:spMk id="10" creationId="{4DBA6675-BDA7-9AFB-0030-134699EAB71E}"/>
          </ac:spMkLst>
        </pc:spChg>
        <pc:spChg chg="mod">
          <ac:chgData name="Paul Jordan" userId="ed43b065-ed91-4d94-a70c-3ec7c0759f23" providerId="ADAL" clId="{2C32DC77-3316-5A44-99F4-3731869D0700}" dt="2023-01-20T04:04:42.370" v="12708" actId="207"/>
          <ac:spMkLst>
            <pc:docMk/>
            <pc:sldMk cId="2258709342" sldId="270"/>
            <ac:spMk id="13" creationId="{023A9A77-F867-5A12-08B4-653D02ADA129}"/>
          </ac:spMkLst>
        </pc:spChg>
        <pc:spChg chg="mod">
          <ac:chgData name="Paul Jordan" userId="ed43b065-ed91-4d94-a70c-3ec7c0759f23" providerId="ADAL" clId="{2C32DC77-3316-5A44-99F4-3731869D0700}" dt="2023-01-20T04:02:56.734" v="12643"/>
          <ac:spMkLst>
            <pc:docMk/>
            <pc:sldMk cId="2258709342" sldId="270"/>
            <ac:spMk id="14" creationId="{B29C6593-7EBE-4367-EEA7-EC6BB46FA621}"/>
          </ac:spMkLst>
        </pc:spChg>
        <pc:spChg chg="mod">
          <ac:chgData name="Paul Jordan" userId="ed43b065-ed91-4d94-a70c-3ec7c0759f23" providerId="ADAL" clId="{2C32DC77-3316-5A44-99F4-3731869D0700}" dt="2023-01-20T04:04:37.247" v="12706" actId="207"/>
          <ac:spMkLst>
            <pc:docMk/>
            <pc:sldMk cId="2258709342" sldId="270"/>
            <ac:spMk id="17" creationId="{0DEB3184-65C2-1D25-20FA-0D98F7D21E55}"/>
          </ac:spMkLst>
        </pc:spChg>
        <pc:spChg chg="mod">
          <ac:chgData name="Paul Jordan" userId="ed43b065-ed91-4d94-a70c-3ec7c0759f23" providerId="ADAL" clId="{2C32DC77-3316-5A44-99F4-3731869D0700}" dt="2023-01-20T04:01:35.914" v="12569"/>
          <ac:spMkLst>
            <pc:docMk/>
            <pc:sldMk cId="2258709342" sldId="270"/>
            <ac:spMk id="28" creationId="{215FC472-8814-2A82-D247-93A9BF9EAFCB}"/>
          </ac:spMkLst>
        </pc:spChg>
        <pc:spChg chg="mod">
          <ac:chgData name="Paul Jordan" userId="ed43b065-ed91-4d94-a70c-3ec7c0759f23" providerId="ADAL" clId="{2C32DC77-3316-5A44-99F4-3731869D0700}" dt="2023-01-20T04:01:35.914" v="12569"/>
          <ac:spMkLst>
            <pc:docMk/>
            <pc:sldMk cId="2258709342" sldId="270"/>
            <ac:spMk id="30" creationId="{2671AA52-3333-E40B-1732-7CBD9CE1C1D9}"/>
          </ac:spMkLst>
        </pc:spChg>
        <pc:spChg chg="mod">
          <ac:chgData name="Paul Jordan" userId="ed43b065-ed91-4d94-a70c-3ec7c0759f23" providerId="ADAL" clId="{2C32DC77-3316-5A44-99F4-3731869D0700}" dt="2023-01-20T04:01:35.914" v="12569"/>
          <ac:spMkLst>
            <pc:docMk/>
            <pc:sldMk cId="2258709342" sldId="270"/>
            <ac:spMk id="31" creationId="{1A71FF59-DAD2-AA2C-9CF3-435063521F78}"/>
          </ac:spMkLst>
        </pc:spChg>
        <pc:spChg chg="mod">
          <ac:chgData name="Paul Jordan" userId="ed43b065-ed91-4d94-a70c-3ec7c0759f23" providerId="ADAL" clId="{2C32DC77-3316-5A44-99F4-3731869D0700}" dt="2023-01-20T04:04:44.903" v="12709" actId="207"/>
          <ac:spMkLst>
            <pc:docMk/>
            <pc:sldMk cId="2258709342" sldId="270"/>
            <ac:spMk id="42" creationId="{87C3F2FA-804A-DF5C-CD9A-7E07E7499AEB}"/>
          </ac:spMkLst>
        </pc:spChg>
        <pc:grpChg chg="add del mod">
          <ac:chgData name="Paul Jordan" userId="ed43b065-ed91-4d94-a70c-3ec7c0759f23" providerId="ADAL" clId="{2C32DC77-3316-5A44-99F4-3731869D0700}" dt="2023-01-20T04:04:25.053" v="12704" actId="165"/>
          <ac:grpSpMkLst>
            <pc:docMk/>
            <pc:sldMk cId="2258709342" sldId="270"/>
            <ac:grpSpMk id="4" creationId="{7B68CE61-AA7E-2F65-36AE-006A574FE69C}"/>
          </ac:grpSpMkLst>
        </pc:grpChg>
        <pc:grpChg chg="mod topLvl">
          <ac:chgData name="Paul Jordan" userId="ed43b065-ed91-4d94-a70c-3ec7c0759f23" providerId="ADAL" clId="{2C32DC77-3316-5A44-99F4-3731869D0700}" dt="2023-01-20T04:04:25.053" v="12704" actId="165"/>
          <ac:grpSpMkLst>
            <pc:docMk/>
            <pc:sldMk cId="2258709342" sldId="270"/>
            <ac:grpSpMk id="7" creationId="{D2D78F11-5A7B-705E-EA56-09F6E1FDF572}"/>
          </ac:grpSpMkLst>
        </pc:grpChg>
        <pc:grpChg chg="mod topLvl">
          <ac:chgData name="Paul Jordan" userId="ed43b065-ed91-4d94-a70c-3ec7c0759f23" providerId="ADAL" clId="{2C32DC77-3316-5A44-99F4-3731869D0700}" dt="2023-01-20T04:05:36.257" v="12746" actId="1035"/>
          <ac:grpSpMkLst>
            <pc:docMk/>
            <pc:sldMk cId="2258709342" sldId="270"/>
            <ac:grpSpMk id="11" creationId="{4B17B53E-41CF-3105-EB5F-9E41D3736E91}"/>
          </ac:grpSpMkLst>
        </pc:grpChg>
        <pc:grpChg chg="mod topLvl">
          <ac:chgData name="Paul Jordan" userId="ed43b065-ed91-4d94-a70c-3ec7c0759f23" providerId="ADAL" clId="{2C32DC77-3316-5A44-99F4-3731869D0700}" dt="2023-01-20T04:04:16.747" v="12703" actId="165"/>
          <ac:grpSpMkLst>
            <pc:docMk/>
            <pc:sldMk cId="2258709342" sldId="270"/>
            <ac:grpSpMk id="15" creationId="{D637C13F-C229-BDB8-A05B-8D5F3174FF22}"/>
          </ac:grpSpMkLst>
        </pc:grpChg>
        <pc:grpChg chg="del">
          <ac:chgData name="Paul Jordan" userId="ed43b065-ed91-4d94-a70c-3ec7c0759f23" providerId="ADAL" clId="{2C32DC77-3316-5A44-99F4-3731869D0700}" dt="2023-01-20T04:02:59.999" v="12644" actId="478"/>
          <ac:grpSpMkLst>
            <pc:docMk/>
            <pc:sldMk cId="2258709342" sldId="270"/>
            <ac:grpSpMk id="18" creationId="{9B62862F-764A-2B8F-91A9-442694DEE6D7}"/>
          </ac:grpSpMkLst>
        </pc:grpChg>
        <pc:grpChg chg="del">
          <ac:chgData name="Paul Jordan" userId="ed43b065-ed91-4d94-a70c-3ec7c0759f23" providerId="ADAL" clId="{2C32DC77-3316-5A44-99F4-3731869D0700}" dt="2023-01-20T04:01:26.784" v="12563" actId="165"/>
          <ac:grpSpMkLst>
            <pc:docMk/>
            <pc:sldMk cId="2258709342" sldId="270"/>
            <ac:grpSpMk id="25" creationId="{FC877F52-FB13-9693-22EE-DBE7662AB308}"/>
          </ac:grpSpMkLst>
        </pc:grpChg>
        <pc:grpChg chg="mod topLvl">
          <ac:chgData name="Paul Jordan" userId="ed43b065-ed91-4d94-a70c-3ec7c0759f23" providerId="ADAL" clId="{2C32DC77-3316-5A44-99F4-3731869D0700}" dt="2023-01-20T04:01:35.914" v="12569"/>
          <ac:grpSpMkLst>
            <pc:docMk/>
            <pc:sldMk cId="2258709342" sldId="270"/>
            <ac:grpSpMk id="27" creationId="{8F38604B-8998-2C4D-7B87-F3CC2C5EE132}"/>
          </ac:grpSpMkLst>
        </pc:grpChg>
        <pc:grpChg chg="mod">
          <ac:chgData name="Paul Jordan" userId="ed43b065-ed91-4d94-a70c-3ec7c0759f23" providerId="ADAL" clId="{2C32DC77-3316-5A44-99F4-3731869D0700}" dt="2023-01-20T04:01:35.914" v="12569"/>
          <ac:grpSpMkLst>
            <pc:docMk/>
            <pc:sldMk cId="2258709342" sldId="270"/>
            <ac:grpSpMk id="29" creationId="{B5825938-9157-50F8-12B7-91E849C48626}"/>
          </ac:grpSpMkLst>
        </pc:grpChg>
        <pc:grpChg chg="add del mod">
          <ac:chgData name="Paul Jordan" userId="ed43b065-ed91-4d94-a70c-3ec7c0759f23" providerId="ADAL" clId="{2C32DC77-3316-5A44-99F4-3731869D0700}" dt="2023-01-20T04:04:16.747" v="12703" actId="165"/>
          <ac:grpSpMkLst>
            <pc:docMk/>
            <pc:sldMk cId="2258709342" sldId="270"/>
            <ac:grpSpMk id="32" creationId="{8F6774D8-1A79-DEAF-BC8A-AF10B6026E3F}"/>
          </ac:grpSpMkLst>
        </pc:grpChg>
        <pc:grpChg chg="add del mod">
          <ac:chgData name="Paul Jordan" userId="ed43b065-ed91-4d94-a70c-3ec7c0759f23" providerId="ADAL" clId="{2C32DC77-3316-5A44-99F4-3731869D0700}" dt="2023-01-20T04:04:25.053" v="12704" actId="165"/>
          <ac:grpSpMkLst>
            <pc:docMk/>
            <pc:sldMk cId="2258709342" sldId="270"/>
            <ac:grpSpMk id="33" creationId="{807F073C-C0B8-FEA3-38C2-B02CE5E1703D}"/>
          </ac:grpSpMkLst>
        </pc:grpChg>
        <pc:grpChg chg="add del mod">
          <ac:chgData name="Paul Jordan" userId="ed43b065-ed91-4d94-a70c-3ec7c0759f23" providerId="ADAL" clId="{2C32DC77-3316-5A44-99F4-3731869D0700}" dt="2023-01-20T04:03:34.069" v="12675" actId="478"/>
          <ac:grpSpMkLst>
            <pc:docMk/>
            <pc:sldMk cId="2258709342" sldId="270"/>
            <ac:grpSpMk id="36" creationId="{5C0603AC-7DFD-6BC8-AD48-CAE502FA434D}"/>
          </ac:grpSpMkLst>
        </pc:grpChg>
        <pc:grpChg chg="mod topLvl">
          <ac:chgData name="Paul Jordan" userId="ed43b065-ed91-4d94-a70c-3ec7c0759f23" providerId="ADAL" clId="{2C32DC77-3316-5A44-99F4-3731869D0700}" dt="2023-01-20T04:03:34.069" v="12675" actId="478"/>
          <ac:grpSpMkLst>
            <pc:docMk/>
            <pc:sldMk cId="2258709342" sldId="270"/>
            <ac:grpSpMk id="38" creationId="{C9861474-530F-6522-F657-B775A95E915C}"/>
          </ac:grpSpMkLst>
        </pc:grpChg>
        <pc:picChg chg="del">
          <ac:chgData name="Paul Jordan" userId="ed43b065-ed91-4d94-a70c-3ec7c0759f23" providerId="ADAL" clId="{2C32DC77-3316-5A44-99F4-3731869D0700}" dt="2023-01-20T04:07:28.131" v="12752" actId="21"/>
          <ac:picMkLst>
            <pc:docMk/>
            <pc:sldMk cId="2258709342" sldId="270"/>
            <ac:picMk id="34" creationId="{DCD43826-EFB7-F94B-05D1-92D909939185}"/>
          </ac:picMkLst>
        </pc:picChg>
        <pc:picChg chg="del mod">
          <ac:chgData name="Paul Jordan" userId="ed43b065-ed91-4d94-a70c-3ec7c0759f23" providerId="ADAL" clId="{2C32DC77-3316-5A44-99F4-3731869D0700}" dt="2023-01-20T04:07:28.131" v="12752" actId="21"/>
          <ac:picMkLst>
            <pc:docMk/>
            <pc:sldMk cId="2258709342" sldId="270"/>
            <ac:picMk id="37" creationId="{9DB4257B-E016-4CB1-29DA-7A920326559B}"/>
          </ac:picMkLst>
        </pc:picChg>
        <pc:picChg chg="del mod topLvl">
          <ac:chgData name="Paul Jordan" userId="ed43b065-ed91-4d94-a70c-3ec7c0759f23" providerId="ADAL" clId="{2C32DC77-3316-5A44-99F4-3731869D0700}" dt="2023-01-20T04:03:34.069" v="12675" actId="478"/>
          <ac:picMkLst>
            <pc:docMk/>
            <pc:sldMk cId="2258709342" sldId="270"/>
            <ac:picMk id="39" creationId="{7642CF59-258A-20D0-66BA-61031014C4E7}"/>
          </ac:picMkLst>
        </pc:picChg>
        <pc:picChg chg="mod topLvl">
          <ac:chgData name="Paul Jordan" userId="ed43b065-ed91-4d94-a70c-3ec7c0759f23" providerId="ADAL" clId="{2C32DC77-3316-5A44-99F4-3731869D0700}" dt="2023-01-20T04:04:31.771" v="12705" actId="207"/>
          <ac:picMkLst>
            <pc:docMk/>
            <pc:sldMk cId="2258709342" sldId="270"/>
            <ac:picMk id="41" creationId="{39D4F2E9-AD55-B110-912B-A6E2E1F5C77F}"/>
          </ac:picMkLst>
        </pc:picChg>
        <pc:picChg chg="add del mod topLvl">
          <ac:chgData name="Paul Jordan" userId="ed43b065-ed91-4d94-a70c-3ec7c0759f23" providerId="ADAL" clId="{2C32DC77-3316-5A44-99F4-3731869D0700}" dt="2023-01-20T04:05:36.257" v="12746" actId="1035"/>
          <ac:picMkLst>
            <pc:docMk/>
            <pc:sldMk cId="2258709342" sldId="270"/>
            <ac:picMk id="43" creationId="{59A27BFE-BC45-7D5F-33C9-E270D5528245}"/>
          </ac:picMkLst>
        </pc:picChg>
        <pc:picChg chg="mod topLvl">
          <ac:chgData name="Paul Jordan" userId="ed43b065-ed91-4d94-a70c-3ec7c0759f23" providerId="ADAL" clId="{2C32DC77-3316-5A44-99F4-3731869D0700}" dt="2023-01-20T04:04:31.771" v="12705" actId="207"/>
          <ac:picMkLst>
            <pc:docMk/>
            <pc:sldMk cId="2258709342" sldId="270"/>
            <ac:picMk id="45" creationId="{44ADCD0F-306B-50C5-82F2-F4FA15992683}"/>
          </ac:picMkLst>
        </pc:picChg>
        <pc:picChg chg="add mod">
          <ac:chgData name="Paul Jordan" userId="ed43b065-ed91-4d94-a70c-3ec7c0759f23" providerId="ADAL" clId="{2C32DC77-3316-5A44-99F4-3731869D0700}" dt="2023-01-20T04:04:56.605" v="12722" actId="1036"/>
          <ac:picMkLst>
            <pc:docMk/>
            <pc:sldMk cId="2258709342" sldId="270"/>
            <ac:picMk id="46" creationId="{A7C0DD52-7E2E-08FC-F7AB-7373F3167198}"/>
          </ac:picMkLst>
        </pc:picChg>
        <pc:cxnChg chg="mod">
          <ac:chgData name="Paul Jordan" userId="ed43b065-ed91-4d94-a70c-3ec7c0759f23" providerId="ADAL" clId="{2C32DC77-3316-5A44-99F4-3731869D0700}" dt="2023-01-20T04:00:35.793" v="12538"/>
          <ac:cxnSpMkLst>
            <pc:docMk/>
            <pc:sldMk cId="2258709342" sldId="270"/>
            <ac:cxnSpMk id="8" creationId="{18BAC8F0-79D3-6A98-0C69-7AD0F1028D43}"/>
          </ac:cxnSpMkLst>
        </pc:cxnChg>
        <pc:cxnChg chg="mod">
          <ac:chgData name="Paul Jordan" userId="ed43b065-ed91-4d94-a70c-3ec7c0759f23" providerId="ADAL" clId="{2C32DC77-3316-5A44-99F4-3731869D0700}" dt="2023-01-20T04:02:56.730" v="12641"/>
          <ac:cxnSpMkLst>
            <pc:docMk/>
            <pc:sldMk cId="2258709342" sldId="270"/>
            <ac:cxnSpMk id="12" creationId="{EA360E11-5FC0-9E9F-2907-F8BF2B458E32}"/>
          </ac:cxnSpMkLst>
        </pc:cxnChg>
        <pc:cxnChg chg="mod topLvl">
          <ac:chgData name="Paul Jordan" userId="ed43b065-ed91-4d94-a70c-3ec7c0759f23" providerId="ADAL" clId="{2C32DC77-3316-5A44-99F4-3731869D0700}" dt="2023-01-20T04:01:26.784" v="12563" actId="165"/>
          <ac:cxnSpMkLst>
            <pc:docMk/>
            <pc:sldMk cId="2258709342" sldId="270"/>
            <ac:cxnSpMk id="26" creationId="{43CC76ED-F899-2C7D-B526-94459A153B1A}"/>
          </ac:cxnSpMkLst>
        </pc:cxnChg>
        <pc:cxnChg chg="mod">
          <ac:chgData name="Paul Jordan" userId="ed43b065-ed91-4d94-a70c-3ec7c0759f23" providerId="ADAL" clId="{2C32DC77-3316-5A44-99F4-3731869D0700}" dt="2023-01-20T04:03:31.171" v="12674"/>
          <ac:cxnSpMkLst>
            <pc:docMk/>
            <pc:sldMk cId="2258709342" sldId="270"/>
            <ac:cxnSpMk id="40" creationId="{311F57D2-2639-F49D-6F05-2415A4F6A0EE}"/>
          </ac:cxnSpMkLst>
        </pc:cxnChg>
      </pc:sldChg>
      <pc:sldChg chg="addSp delSp modSp new add mod">
        <pc:chgData name="Paul Jordan" userId="ed43b065-ed91-4d94-a70c-3ec7c0759f23" providerId="ADAL" clId="{2C32DC77-3316-5A44-99F4-3731869D0700}" dt="2023-01-20T04:07:44.919" v="13077"/>
        <pc:sldMkLst>
          <pc:docMk/>
          <pc:sldMk cId="1945028301" sldId="271"/>
        </pc:sldMkLst>
        <pc:spChg chg="mod">
          <ac:chgData name="Paul Jordan" userId="ed43b065-ed91-4d94-a70c-3ec7c0759f23" providerId="ADAL" clId="{2C32DC77-3316-5A44-99F4-3731869D0700}" dt="2023-01-20T04:07:44.895" v="13034" actId="948"/>
          <ac:spMkLst>
            <pc:docMk/>
            <pc:sldMk cId="1945028301" sldId="271"/>
            <ac:spMk id="2" creationId="{65BF5C4E-476A-C35C-298D-0EFE28A796FC}"/>
          </ac:spMkLst>
        </pc:spChg>
        <pc:spChg chg="del">
          <ac:chgData name="Paul Jordan" userId="ed43b065-ed91-4d94-a70c-3ec7c0759f23" providerId="ADAL" clId="{2C32DC77-3316-5A44-99F4-3731869D0700}" dt="2023-01-20T04:07:33.444" v="12755" actId="478"/>
          <ac:spMkLst>
            <pc:docMk/>
            <pc:sldMk cId="1945028301" sldId="271"/>
            <ac:spMk id="4" creationId="{3250E970-728B-5454-C8EE-5B4684F72CFF}"/>
          </ac:spMkLst>
        </pc:spChg>
        <pc:spChg chg="add del mod modVis">
          <ac:chgData name="Paul Jordan" userId="ed43b065-ed91-4d94-a70c-3ec7c0759f23" providerId="ADAL" clId="{2C32DC77-3316-5A44-99F4-3731869D0700}" dt="2023-01-20T04:07:39.355" v="12829"/>
          <ac:spMkLst>
            <pc:docMk/>
            <pc:sldMk cId="1945028301" sldId="271"/>
            <ac:spMk id="8" creationId="{6152E085-EB60-C470-8C9C-BB1F96ED501E}"/>
          </ac:spMkLst>
        </pc:spChg>
        <pc:spChg chg="add del mod modVis">
          <ac:chgData name="Paul Jordan" userId="ed43b065-ed91-4d94-a70c-3ec7c0759f23" providerId="ADAL" clId="{2C32DC77-3316-5A44-99F4-3731869D0700}" dt="2023-01-20T04:07:39.776" v="12876"/>
          <ac:spMkLst>
            <pc:docMk/>
            <pc:sldMk cId="1945028301" sldId="271"/>
            <ac:spMk id="9" creationId="{8E911A26-BD6B-8182-43CC-8EA42EDF82E0}"/>
          </ac:spMkLst>
        </pc:spChg>
        <pc:spChg chg="add del mod modVis">
          <ac:chgData name="Paul Jordan" userId="ed43b065-ed91-4d94-a70c-3ec7c0759f23" providerId="ADAL" clId="{2C32DC77-3316-5A44-99F4-3731869D0700}" dt="2023-01-20T04:07:41.041" v="12927"/>
          <ac:spMkLst>
            <pc:docMk/>
            <pc:sldMk cId="1945028301" sldId="271"/>
            <ac:spMk id="10" creationId="{40E83559-F903-BB27-D94E-B35FA0DAA433}"/>
          </ac:spMkLst>
        </pc:spChg>
        <pc:spChg chg="add del mod modVis">
          <ac:chgData name="Paul Jordan" userId="ed43b065-ed91-4d94-a70c-3ec7c0759f23" providerId="ADAL" clId="{2C32DC77-3316-5A44-99F4-3731869D0700}" dt="2023-01-20T04:07:42.239" v="12972"/>
          <ac:spMkLst>
            <pc:docMk/>
            <pc:sldMk cId="1945028301" sldId="271"/>
            <ac:spMk id="11" creationId="{28C502B7-EC26-82B4-F713-5D83C5E402BC}"/>
          </ac:spMkLst>
        </pc:spChg>
        <pc:spChg chg="add del mod modVis">
          <ac:chgData name="Paul Jordan" userId="ed43b065-ed91-4d94-a70c-3ec7c0759f23" providerId="ADAL" clId="{2C32DC77-3316-5A44-99F4-3731869D0700}" dt="2023-01-20T04:07:42.633" v="13019"/>
          <ac:spMkLst>
            <pc:docMk/>
            <pc:sldMk cId="1945028301" sldId="271"/>
            <ac:spMk id="12" creationId="{2A21DE6D-2976-98E9-FEBE-2AC30F24FE95}"/>
          </ac:spMkLst>
        </pc:spChg>
        <pc:spChg chg="add del mod modVis">
          <ac:chgData name="Paul Jordan" userId="ed43b065-ed91-4d94-a70c-3ec7c0759f23" providerId="ADAL" clId="{2C32DC77-3316-5A44-99F4-3731869D0700}" dt="2023-01-20T04:07:44.917" v="13075"/>
          <ac:spMkLst>
            <pc:docMk/>
            <pc:sldMk cId="1945028301" sldId="271"/>
            <ac:spMk id="13" creationId="{3C51F787-164B-4CA5-A1C4-F07D07796640}"/>
          </ac:spMkLst>
        </pc:spChg>
        <pc:graphicFrameChg chg="add mod modVis replST">
          <ac:chgData name="Paul Jordan" userId="ed43b065-ed91-4d94-a70c-3ec7c0759f23" providerId="ADAL" clId="{2C32DC77-3316-5A44-99F4-3731869D0700}" dt="2023-01-20T04:07:44.919" v="13077"/>
          <ac:graphicFrameMkLst>
            <pc:docMk/>
            <pc:sldMk cId="1945028301" sldId="271"/>
            <ac:graphicFrameMk id="7" creationId="{B9218636-E0B4-C126-1D16-5DA04A87A64E}"/>
          </ac:graphicFrameMkLst>
        </pc:graphicFrameChg>
        <pc:picChg chg="add mod">
          <ac:chgData name="Paul Jordan" userId="ed43b065-ed91-4d94-a70c-3ec7c0759f23" providerId="ADAL" clId="{2C32DC77-3316-5A44-99F4-3731869D0700}" dt="2023-01-20T04:07:36.382" v="12757" actId="1076"/>
          <ac:picMkLst>
            <pc:docMk/>
            <pc:sldMk cId="1945028301" sldId="271"/>
            <ac:picMk id="5" creationId="{D3931858-F968-2EC8-7C19-C5769C1DD847}"/>
          </ac:picMkLst>
        </pc:picChg>
        <pc:picChg chg="add mod">
          <ac:chgData name="Paul Jordan" userId="ed43b065-ed91-4d94-a70c-3ec7c0759f23" providerId="ADAL" clId="{2C32DC77-3316-5A44-99F4-3731869D0700}" dt="2023-01-20T04:07:34.816" v="12756" actId="1076"/>
          <ac:picMkLst>
            <pc:docMk/>
            <pc:sldMk cId="1945028301" sldId="271"/>
            <ac:picMk id="6" creationId="{272BA402-706B-0CD3-F27D-F58FF0EAF7E1}"/>
          </ac:picMkLst>
        </pc:picChg>
      </pc:sldChg>
      <pc:sldChg chg="addSp delSp modSp new add mod">
        <pc:chgData name="Paul Jordan" userId="ed43b065-ed91-4d94-a70c-3ec7c0759f23" providerId="ADAL" clId="{2C32DC77-3316-5A44-99F4-3731869D0700}" dt="2023-01-20T13:16:40.682" v="15706"/>
        <pc:sldMkLst>
          <pc:docMk/>
          <pc:sldMk cId="3479317855" sldId="272"/>
        </pc:sldMkLst>
        <pc:spChg chg="mod">
          <ac:chgData name="Paul Jordan" userId="ed43b065-ed91-4d94-a70c-3ec7c0759f23" providerId="ADAL" clId="{2C32DC77-3316-5A44-99F4-3731869D0700}" dt="2023-01-20T13:08:45.898" v="15537"/>
          <ac:spMkLst>
            <pc:docMk/>
            <pc:sldMk cId="3479317855" sldId="272"/>
            <ac:spMk id="2" creationId="{05EFD276-C283-3990-A7F2-B16762BCC9BD}"/>
          </ac:spMkLst>
        </pc:spChg>
        <pc:spChg chg="del">
          <ac:chgData name="Paul Jordan" userId="ed43b065-ed91-4d94-a70c-3ec7c0759f23" providerId="ADAL" clId="{2C32DC77-3316-5A44-99F4-3731869D0700}" dt="2023-01-20T13:07:12.436" v="14200" actId="478"/>
          <ac:spMkLst>
            <pc:docMk/>
            <pc:sldMk cId="3479317855" sldId="272"/>
            <ac:spMk id="3" creationId="{EF50CC5A-E415-7816-ED42-EF3F5499964F}"/>
          </ac:spMkLst>
        </pc:spChg>
        <pc:spChg chg="add del mod modVis">
          <ac:chgData name="Paul Jordan" userId="ed43b065-ed91-4d94-a70c-3ec7c0759f23" providerId="ADAL" clId="{2C32DC77-3316-5A44-99F4-3731869D0700}" dt="2023-01-20T13:07:28.319" v="14487"/>
          <ac:spMkLst>
            <pc:docMk/>
            <pc:sldMk cId="3479317855" sldId="272"/>
            <ac:spMk id="5" creationId="{67DB743A-C69D-0351-F40C-F09BB2E4C322}"/>
          </ac:spMkLst>
        </pc:spChg>
        <pc:spChg chg="add del mod replST">
          <ac:chgData name="Paul Jordan" userId="ed43b065-ed91-4d94-a70c-3ec7c0759f23" providerId="ADAL" clId="{2C32DC77-3316-5A44-99F4-3731869D0700}" dt="2023-01-20T13:08:32.687" v="15336"/>
          <ac:spMkLst>
            <pc:docMk/>
            <pc:sldMk cId="3479317855" sldId="272"/>
            <ac:spMk id="6" creationId="{9F233537-E226-F3C0-909B-747177A2EC26}"/>
          </ac:spMkLst>
        </pc:spChg>
        <pc:spChg chg="add del mod replST">
          <ac:chgData name="Paul Jordan" userId="ed43b065-ed91-4d94-a70c-3ec7c0759f23" providerId="ADAL" clId="{2C32DC77-3316-5A44-99F4-3731869D0700}" dt="2023-01-20T13:07:52.279" v="14827"/>
          <ac:spMkLst>
            <pc:docMk/>
            <pc:sldMk cId="3479317855" sldId="272"/>
            <ac:spMk id="7" creationId="{255EEF7D-2B67-37F4-CC70-295EE931F1FD}"/>
          </ac:spMkLst>
        </pc:spChg>
        <pc:spChg chg="add del mod replST">
          <ac:chgData name="Paul Jordan" userId="ed43b065-ed91-4d94-a70c-3ec7c0759f23" providerId="ADAL" clId="{2C32DC77-3316-5A44-99F4-3731869D0700}" dt="2023-01-20T13:07:52.284" v="14830"/>
          <ac:spMkLst>
            <pc:docMk/>
            <pc:sldMk cId="3479317855" sldId="272"/>
            <ac:spMk id="8" creationId="{F57C56DE-7D88-39E7-5913-AA8EF395D76F}"/>
          </ac:spMkLst>
        </pc:spChg>
        <pc:spChg chg="add del mod modVis">
          <ac:chgData name="Paul Jordan" userId="ed43b065-ed91-4d94-a70c-3ec7c0759f23" providerId="ADAL" clId="{2C32DC77-3316-5A44-99F4-3731869D0700}" dt="2023-01-20T13:07:42.826" v="14798"/>
          <ac:spMkLst>
            <pc:docMk/>
            <pc:sldMk cId="3479317855" sldId="272"/>
            <ac:spMk id="10" creationId="{B84D7E52-C493-5B71-E4BC-EC6B36088AF8}"/>
          </ac:spMkLst>
        </pc:spChg>
        <pc:spChg chg="add del mod replST">
          <ac:chgData name="Paul Jordan" userId="ed43b065-ed91-4d94-a70c-3ec7c0759f23" providerId="ADAL" clId="{2C32DC77-3316-5A44-99F4-3731869D0700}" dt="2023-01-20T13:08:03.511" v="15087"/>
          <ac:spMkLst>
            <pc:docMk/>
            <pc:sldMk cId="3479317855" sldId="272"/>
            <ac:spMk id="11" creationId="{AA4B9438-BDAA-823D-788B-AE2A6BBE1D9C}"/>
          </ac:spMkLst>
        </pc:spChg>
        <pc:spChg chg="add del mod replST">
          <ac:chgData name="Paul Jordan" userId="ed43b065-ed91-4d94-a70c-3ec7c0759f23" providerId="ADAL" clId="{2C32DC77-3316-5A44-99F4-3731869D0700}" dt="2023-01-20T13:07:52.283" v="14829"/>
          <ac:spMkLst>
            <pc:docMk/>
            <pc:sldMk cId="3479317855" sldId="272"/>
            <ac:spMk id="12" creationId="{7775FB58-B32C-B700-8252-D96820B3A808}"/>
          </ac:spMkLst>
        </pc:spChg>
        <pc:spChg chg="add del mod replST">
          <ac:chgData name="Paul Jordan" userId="ed43b065-ed91-4d94-a70c-3ec7c0759f23" providerId="ADAL" clId="{2C32DC77-3316-5A44-99F4-3731869D0700}" dt="2023-01-20T13:07:52.286" v="14832"/>
          <ac:spMkLst>
            <pc:docMk/>
            <pc:sldMk cId="3479317855" sldId="272"/>
            <ac:spMk id="13" creationId="{D554A4BA-91DB-B13A-1245-0150A4F9E4A3}"/>
          </ac:spMkLst>
        </pc:spChg>
        <pc:spChg chg="add del mod modVis">
          <ac:chgData name="Paul Jordan" userId="ed43b065-ed91-4d94-a70c-3ec7c0759f23" providerId="ADAL" clId="{2C32DC77-3316-5A44-99F4-3731869D0700}" dt="2023-01-20T13:07:52.392" v="14902"/>
          <ac:spMkLst>
            <pc:docMk/>
            <pc:sldMk cId="3479317855" sldId="272"/>
            <ac:spMk id="16" creationId="{A107C0B5-38F2-8D78-14E3-08B6FB688BA2}"/>
          </ac:spMkLst>
        </pc:spChg>
        <pc:spChg chg="add del mod replST">
          <ac:chgData name="Paul Jordan" userId="ed43b065-ed91-4d94-a70c-3ec7c0759f23" providerId="ADAL" clId="{2C32DC77-3316-5A44-99F4-3731869D0700}" dt="2023-01-20T13:08:49.112" v="15548"/>
          <ac:spMkLst>
            <pc:docMk/>
            <pc:sldMk cId="3479317855" sldId="272"/>
            <ac:spMk id="18" creationId="{BD2D34A3-79A0-ACC3-68F1-3CAFBF8D82A7}"/>
          </ac:spMkLst>
        </pc:spChg>
        <pc:spChg chg="add del mod replST">
          <ac:chgData name="Paul Jordan" userId="ed43b065-ed91-4d94-a70c-3ec7c0759f23" providerId="ADAL" clId="{2C32DC77-3316-5A44-99F4-3731869D0700}" dt="2023-01-20T13:08:31.820" v="15302"/>
          <ac:spMkLst>
            <pc:docMk/>
            <pc:sldMk cId="3479317855" sldId="272"/>
            <ac:spMk id="19" creationId="{98FAA3EA-B1FF-C7C0-0A33-73D4CC1DB8D6}"/>
          </ac:spMkLst>
        </pc:spChg>
        <pc:spChg chg="add del mod modVis">
          <ac:chgData name="Paul Jordan" userId="ed43b065-ed91-4d94-a70c-3ec7c0759f23" providerId="ADAL" clId="{2C32DC77-3316-5A44-99F4-3731869D0700}" dt="2023-01-20T13:08:00.352" v="15021"/>
          <ac:spMkLst>
            <pc:docMk/>
            <pc:sldMk cId="3479317855" sldId="272"/>
            <ac:spMk id="20" creationId="{652A38AE-D96C-D7A2-1A19-7459DF87C93D}"/>
          </ac:spMkLst>
        </pc:spChg>
        <pc:spChg chg="add del mod modVis">
          <ac:chgData name="Paul Jordan" userId="ed43b065-ed91-4d94-a70c-3ec7c0759f23" providerId="ADAL" clId="{2C32DC77-3316-5A44-99F4-3731869D0700}" dt="2023-01-20T13:08:03.534" v="15119"/>
          <ac:spMkLst>
            <pc:docMk/>
            <pc:sldMk cId="3479317855" sldId="272"/>
            <ac:spMk id="22" creationId="{11E98601-D4BB-9E46-A2BD-709791E41E91}"/>
          </ac:spMkLst>
        </pc:spChg>
        <pc:spChg chg="add del mod modVis">
          <ac:chgData name="Paul Jordan" userId="ed43b065-ed91-4d94-a70c-3ec7c0759f23" providerId="ADAL" clId="{2C32DC77-3316-5A44-99F4-3731869D0700}" dt="2023-01-20T13:08:16.759" v="15224"/>
          <ac:spMkLst>
            <pc:docMk/>
            <pc:sldMk cId="3479317855" sldId="272"/>
            <ac:spMk id="25" creationId="{0AA689A8-FF8F-5DF7-48B2-561148FD5145}"/>
          </ac:spMkLst>
        </pc:spChg>
        <pc:spChg chg="add del mod modVis">
          <ac:chgData name="Paul Jordan" userId="ed43b065-ed91-4d94-a70c-3ec7c0759f23" providerId="ADAL" clId="{2C32DC77-3316-5A44-99F4-3731869D0700}" dt="2023-01-20T13:08:25.877" v="15295"/>
          <ac:spMkLst>
            <pc:docMk/>
            <pc:sldMk cId="3479317855" sldId="272"/>
            <ac:spMk id="27" creationId="{F3D0F7DD-FBEE-4373-C45B-34871CC1765C}"/>
          </ac:spMkLst>
        </pc:spChg>
        <pc:spChg chg="add del mod replST">
          <ac:chgData name="Paul Jordan" userId="ed43b065-ed91-4d94-a70c-3ec7c0759f23" providerId="ADAL" clId="{2C32DC77-3316-5A44-99F4-3731869D0700}" dt="2023-01-20T13:08:49.109" v="15546"/>
          <ac:spMkLst>
            <pc:docMk/>
            <pc:sldMk cId="3479317855" sldId="272"/>
            <ac:spMk id="30" creationId="{E3455E27-3021-9C8A-E6E7-FCCD73FDD445}"/>
          </ac:spMkLst>
        </pc:spChg>
        <pc:spChg chg="add del mod modVis">
          <ac:chgData name="Paul Jordan" userId="ed43b065-ed91-4d94-a70c-3ec7c0759f23" providerId="ADAL" clId="{2C32DC77-3316-5A44-99F4-3731869D0700}" dt="2023-01-20T13:08:32.740" v="15394"/>
          <ac:spMkLst>
            <pc:docMk/>
            <pc:sldMk cId="3479317855" sldId="272"/>
            <ac:spMk id="31" creationId="{D6A5C6BD-343E-59F0-9B5B-CA602978FF4C}"/>
          </ac:spMkLst>
        </pc:spChg>
        <pc:spChg chg="add del mod replST">
          <ac:chgData name="Paul Jordan" userId="ed43b065-ed91-4d94-a70c-3ec7c0759f23" providerId="ADAL" clId="{2C32DC77-3316-5A44-99F4-3731869D0700}" dt="2023-01-20T13:08:49.113" v="15549"/>
          <ac:spMkLst>
            <pc:docMk/>
            <pc:sldMk cId="3479317855" sldId="272"/>
            <ac:spMk id="33" creationId="{46274D7B-E7A5-E151-F7CE-745935BD363D}"/>
          </ac:spMkLst>
        </pc:spChg>
        <pc:spChg chg="add del mod modVis">
          <ac:chgData name="Paul Jordan" userId="ed43b065-ed91-4d94-a70c-3ec7c0759f23" providerId="ADAL" clId="{2C32DC77-3316-5A44-99F4-3731869D0700}" dt="2023-01-20T13:08:34.046" v="15471"/>
          <ac:spMkLst>
            <pc:docMk/>
            <pc:sldMk cId="3479317855" sldId="272"/>
            <ac:spMk id="34" creationId="{0A1CB41F-38C0-F64A-96D9-CA1A7126B543}"/>
          </ac:spMkLst>
        </pc:spChg>
        <pc:spChg chg="add mod">
          <ac:chgData name="Paul Jordan" userId="ed43b065-ed91-4d94-a70c-3ec7c0759f23" providerId="ADAL" clId="{2C32DC77-3316-5A44-99F4-3731869D0700}" dt="2023-01-20T13:12:32.671" v="15645" actId="14100"/>
          <ac:spMkLst>
            <pc:docMk/>
            <pc:sldMk cId="3479317855" sldId="272"/>
            <ac:spMk id="39" creationId="{26BF81DA-050E-B003-E724-877DB6E03DDE}"/>
          </ac:spMkLst>
        </pc:spChg>
        <pc:graphicFrameChg chg="add mod modVis replST">
          <ac:chgData name="Paul Jordan" userId="ed43b065-ed91-4d94-a70c-3ec7c0759f23" providerId="ADAL" clId="{2C32DC77-3316-5A44-99F4-3731869D0700}" dt="2023-01-20T13:08:49.124" v="15555"/>
          <ac:graphicFrameMkLst>
            <pc:docMk/>
            <pc:sldMk cId="3479317855" sldId="272"/>
            <ac:graphicFrameMk id="4" creationId="{B78D390B-A5C3-C14C-4CD2-B2ECC6F1B59F}"/>
          </ac:graphicFrameMkLst>
        </pc:graphicFrameChg>
        <pc:graphicFrameChg chg="add del mod replST">
          <ac:chgData name="Paul Jordan" userId="ed43b065-ed91-4d94-a70c-3ec7c0759f23" providerId="ADAL" clId="{2C32DC77-3316-5A44-99F4-3731869D0700}" dt="2023-01-20T13:07:42.805" v="14780"/>
          <ac:graphicFrameMkLst>
            <pc:docMk/>
            <pc:sldMk cId="3479317855" sldId="272"/>
            <ac:graphicFrameMk id="9" creationId="{DC04B73B-7CFF-6072-7708-2B585B022322}"/>
          </ac:graphicFrameMkLst>
        </pc:graphicFrameChg>
        <pc:graphicFrameChg chg="add del mod replST">
          <ac:chgData name="Paul Jordan" userId="ed43b065-ed91-4d94-a70c-3ec7c0759f23" providerId="ADAL" clId="{2C32DC77-3316-5A44-99F4-3731869D0700}" dt="2023-01-20T13:07:50.349" v="14808"/>
          <ac:graphicFrameMkLst>
            <pc:docMk/>
            <pc:sldMk cId="3479317855" sldId="272"/>
            <ac:graphicFrameMk id="14" creationId="{32B08565-4F4B-4B23-C246-614E9986CD3A}"/>
          </ac:graphicFrameMkLst>
        </pc:graphicFrameChg>
        <pc:graphicFrameChg chg="add del mod replST">
          <ac:chgData name="Paul Jordan" userId="ed43b065-ed91-4d94-a70c-3ec7c0759f23" providerId="ADAL" clId="{2C32DC77-3316-5A44-99F4-3731869D0700}" dt="2023-01-20T13:07:52.372" v="14888"/>
          <ac:graphicFrameMkLst>
            <pc:docMk/>
            <pc:sldMk cId="3479317855" sldId="272"/>
            <ac:graphicFrameMk id="15" creationId="{DA686127-1550-2E3A-0C11-90A780563CAB}"/>
          </ac:graphicFrameMkLst>
        </pc:graphicFrameChg>
        <pc:graphicFrameChg chg="add del mod replST">
          <ac:chgData name="Paul Jordan" userId="ed43b065-ed91-4d94-a70c-3ec7c0759f23" providerId="ADAL" clId="{2C32DC77-3316-5A44-99F4-3731869D0700}" dt="2023-01-20T13:08:00.333" v="15005"/>
          <ac:graphicFrameMkLst>
            <pc:docMk/>
            <pc:sldMk cId="3479317855" sldId="272"/>
            <ac:graphicFrameMk id="17" creationId="{5630A5C2-5D26-4A8A-08D2-E29F49A96D30}"/>
          </ac:graphicFrameMkLst>
        </pc:graphicFrameChg>
        <pc:graphicFrameChg chg="add del mod replST">
          <ac:chgData name="Paul Jordan" userId="ed43b065-ed91-4d94-a70c-3ec7c0759f23" providerId="ADAL" clId="{2C32DC77-3316-5A44-99F4-3731869D0700}" dt="2023-01-20T13:08:03.515" v="15104"/>
          <ac:graphicFrameMkLst>
            <pc:docMk/>
            <pc:sldMk cId="3479317855" sldId="272"/>
            <ac:graphicFrameMk id="21" creationId="{71FE6A41-0017-9BFF-F90F-99DC94E7AADD}"/>
          </ac:graphicFrameMkLst>
        </pc:graphicFrameChg>
        <pc:graphicFrameChg chg="add del mod replST">
          <ac:chgData name="Paul Jordan" userId="ed43b065-ed91-4d94-a70c-3ec7c0759f23" providerId="ADAL" clId="{2C32DC77-3316-5A44-99F4-3731869D0700}" dt="2023-01-20T13:08:06.381" v="15126"/>
          <ac:graphicFrameMkLst>
            <pc:docMk/>
            <pc:sldMk cId="3479317855" sldId="272"/>
            <ac:graphicFrameMk id="23" creationId="{63A368A7-680D-9AF6-E9BA-E999C2D8A05D}"/>
          </ac:graphicFrameMkLst>
        </pc:graphicFrameChg>
        <pc:graphicFrameChg chg="add del mod replST">
          <ac:chgData name="Paul Jordan" userId="ed43b065-ed91-4d94-a70c-3ec7c0759f23" providerId="ADAL" clId="{2C32DC77-3316-5A44-99F4-3731869D0700}" dt="2023-01-20T13:08:16.739" v="15209"/>
          <ac:graphicFrameMkLst>
            <pc:docMk/>
            <pc:sldMk cId="3479317855" sldId="272"/>
            <ac:graphicFrameMk id="24" creationId="{B1CD251C-06CA-A7A9-9F72-43AD80922709}"/>
          </ac:graphicFrameMkLst>
        </pc:graphicFrameChg>
        <pc:graphicFrameChg chg="add del mod replST">
          <ac:chgData name="Paul Jordan" userId="ed43b065-ed91-4d94-a70c-3ec7c0759f23" providerId="ADAL" clId="{2C32DC77-3316-5A44-99F4-3731869D0700}" dt="2023-01-20T13:08:25.855" v="15280"/>
          <ac:graphicFrameMkLst>
            <pc:docMk/>
            <pc:sldMk cId="3479317855" sldId="272"/>
            <ac:graphicFrameMk id="26" creationId="{9468F68A-D344-3E26-CF94-10302390F7BA}"/>
          </ac:graphicFrameMkLst>
        </pc:graphicFrameChg>
        <pc:graphicFrameChg chg="add del mod replST">
          <ac:chgData name="Paul Jordan" userId="ed43b065-ed91-4d94-a70c-3ec7c0759f23" providerId="ADAL" clId="{2C32DC77-3316-5A44-99F4-3731869D0700}" dt="2023-01-20T13:08:31.825" v="15304"/>
          <ac:graphicFrameMkLst>
            <pc:docMk/>
            <pc:sldMk cId="3479317855" sldId="272"/>
            <ac:graphicFrameMk id="28" creationId="{BEE392FC-0BC1-29D5-9E94-207FA5C7AB33}"/>
          </ac:graphicFrameMkLst>
        </pc:graphicFrameChg>
        <pc:graphicFrameChg chg="add del mod replST">
          <ac:chgData name="Paul Jordan" userId="ed43b065-ed91-4d94-a70c-3ec7c0759f23" providerId="ADAL" clId="{2C32DC77-3316-5A44-99F4-3731869D0700}" dt="2023-01-20T13:08:32.718" v="15380"/>
          <ac:graphicFrameMkLst>
            <pc:docMk/>
            <pc:sldMk cId="3479317855" sldId="272"/>
            <ac:graphicFrameMk id="29" creationId="{C99A404C-800A-59D6-81ED-03A666FDD173}"/>
          </ac:graphicFrameMkLst>
        </pc:graphicFrameChg>
        <pc:graphicFrameChg chg="add del mod replST">
          <ac:chgData name="Paul Jordan" userId="ed43b065-ed91-4d94-a70c-3ec7c0759f23" providerId="ADAL" clId="{2C32DC77-3316-5A44-99F4-3731869D0700}" dt="2023-01-20T13:08:34.025" v="15456"/>
          <ac:graphicFrameMkLst>
            <pc:docMk/>
            <pc:sldMk cId="3479317855" sldId="272"/>
            <ac:graphicFrameMk id="32" creationId="{43A35271-DE42-73D9-7ECE-99E25734C2A9}"/>
          </ac:graphicFrameMkLst>
        </pc:graphicFrameChg>
        <pc:graphicFrameChg chg="add del mod replST">
          <ac:chgData name="Paul Jordan" userId="ed43b065-ed91-4d94-a70c-3ec7c0759f23" providerId="ADAL" clId="{2C32DC77-3316-5A44-99F4-3731869D0700}" dt="2023-01-20T13:08:41.494" v="15494"/>
          <ac:graphicFrameMkLst>
            <pc:docMk/>
            <pc:sldMk cId="3479317855" sldId="272"/>
            <ac:graphicFrameMk id="35" creationId="{FA598C4F-5829-A554-C6FA-FB09621AC381}"/>
          </ac:graphicFrameMkLst>
        </pc:graphicFrameChg>
        <pc:graphicFrameChg chg="add del mod replST">
          <ac:chgData name="Paul Jordan" userId="ed43b065-ed91-4d94-a70c-3ec7c0759f23" providerId="ADAL" clId="{2C32DC77-3316-5A44-99F4-3731869D0700}" dt="2023-01-20T13:08:45.866" v="15530"/>
          <ac:graphicFrameMkLst>
            <pc:docMk/>
            <pc:sldMk cId="3479317855" sldId="272"/>
            <ac:graphicFrameMk id="36" creationId="{BB64DA5B-B2A7-DECA-7768-3EC0A58EDB45}"/>
          </ac:graphicFrameMkLst>
        </pc:graphicFrameChg>
        <pc:graphicFrameChg chg="add del mod replST">
          <ac:chgData name="Paul Jordan" userId="ed43b065-ed91-4d94-a70c-3ec7c0759f23" providerId="ADAL" clId="{2C32DC77-3316-5A44-99F4-3731869D0700}" dt="2023-01-20T13:08:49.116" v="15551"/>
          <ac:graphicFrameMkLst>
            <pc:docMk/>
            <pc:sldMk cId="3479317855" sldId="272"/>
            <ac:graphicFrameMk id="37" creationId="{CA7FE322-F5BB-DEA1-704B-D3AF82C71181}"/>
          </ac:graphicFrameMkLst>
        </pc:graphicFrameChg>
        <pc:graphicFrameChg chg="add mod">
          <ac:chgData name="Paul Jordan" userId="ed43b065-ed91-4d94-a70c-3ec7c0759f23" providerId="ADAL" clId="{2C32DC77-3316-5A44-99F4-3731869D0700}" dt="2023-01-20T13:16:40.682" v="15706"/>
          <ac:graphicFrameMkLst>
            <pc:docMk/>
            <pc:sldMk cId="3479317855" sldId="272"/>
            <ac:graphicFrameMk id="38" creationId="{0DA8BFC2-092A-CAD6-5EB5-02CF26FA25A8}"/>
          </ac:graphicFrameMkLst>
        </pc:graphicFrameChg>
      </pc:sldChg>
      <pc:sldMasterChg chg="addSp delSp modSp del mod delSldLayout">
        <pc:chgData name="Paul Jordan" userId="ed43b065-ed91-4d94-a70c-3ec7c0759f23" providerId="ADAL" clId="{2C32DC77-3316-5A44-99F4-3731869D0700}" dt="2023-01-18T22:04:43.340" v="28" actId="2696"/>
        <pc:sldMasterMkLst>
          <pc:docMk/>
          <pc:sldMasterMk cId="3384072690" sldId="2147483648"/>
        </pc:sldMasterMkLst>
        <pc:spChg chg="del">
          <ac:chgData name="Paul Jordan" userId="ed43b065-ed91-4d94-a70c-3ec7c0759f23" providerId="ADAL" clId="{2C32DC77-3316-5A44-99F4-3731869D0700}" dt="2023-01-18T22:04:30.248" v="0" actId="478"/>
          <ac:spMkLst>
            <pc:docMk/>
            <pc:sldMasterMk cId="3384072690" sldId="2147483648"/>
            <ac:spMk id="2" creationId="{19668935-D8A5-E07B-7A3E-E3974C2D0437}"/>
          </ac:spMkLst>
        </pc:spChg>
        <pc:spChg chg="del">
          <ac:chgData name="Paul Jordan" userId="ed43b065-ed91-4d94-a70c-3ec7c0759f23" providerId="ADAL" clId="{2C32DC77-3316-5A44-99F4-3731869D0700}" dt="2023-01-18T22:04:30.248" v="0" actId="478"/>
          <ac:spMkLst>
            <pc:docMk/>
            <pc:sldMasterMk cId="3384072690" sldId="2147483648"/>
            <ac:spMk id="3" creationId="{56AB6F04-D75E-1C45-B683-4D816F219714}"/>
          </ac:spMkLst>
        </pc:spChg>
        <pc:spChg chg="del">
          <ac:chgData name="Paul Jordan" userId="ed43b065-ed91-4d94-a70c-3ec7c0759f23" providerId="ADAL" clId="{2C32DC77-3316-5A44-99F4-3731869D0700}" dt="2023-01-18T22:04:30.248" v="0" actId="478"/>
          <ac:spMkLst>
            <pc:docMk/>
            <pc:sldMasterMk cId="3384072690" sldId="2147483648"/>
            <ac:spMk id="4" creationId="{7F2C2BF3-72A3-8F69-0995-0909C2534815}"/>
          </ac:spMkLst>
        </pc:spChg>
        <pc:spChg chg="del">
          <ac:chgData name="Paul Jordan" userId="ed43b065-ed91-4d94-a70c-3ec7c0759f23" providerId="ADAL" clId="{2C32DC77-3316-5A44-99F4-3731869D0700}" dt="2023-01-18T22:04:30.248" v="0" actId="478"/>
          <ac:spMkLst>
            <pc:docMk/>
            <pc:sldMasterMk cId="3384072690" sldId="2147483648"/>
            <ac:spMk id="5" creationId="{22F96555-86B2-F8B0-CF8A-C318670834E9}"/>
          </ac:spMkLst>
        </pc:spChg>
        <pc:spChg chg="del">
          <ac:chgData name="Paul Jordan" userId="ed43b065-ed91-4d94-a70c-3ec7c0759f23" providerId="ADAL" clId="{2C32DC77-3316-5A44-99F4-3731869D0700}" dt="2023-01-18T22:04:30.248" v="0" actId="478"/>
          <ac:spMkLst>
            <pc:docMk/>
            <pc:sldMasterMk cId="3384072690" sldId="2147483648"/>
            <ac:spMk id="6" creationId="{34EA7C13-8B07-150A-52A5-5F5EF50C958D}"/>
          </ac:spMkLst>
        </pc:spChg>
        <pc:graphicFrameChg chg="add mod modVis replST">
          <ac:chgData name="Paul Jordan" userId="ed43b065-ed91-4d94-a70c-3ec7c0759f23" providerId="ADAL" clId="{2C32DC77-3316-5A44-99F4-3731869D0700}" dt="2023-01-18T22:04:30.871" v="16"/>
          <ac:graphicFrameMkLst>
            <pc:docMk/>
            <pc:sldMasterMk cId="3384072690" sldId="2147483648"/>
            <ac:graphicFrameMk id="7" creationId="{0DA2F85B-12AB-C1CA-E150-0D19F102E2D8}"/>
          </ac:graphicFrameMkLst>
        </pc:graphicFrameChg>
        <pc:sldLayoutChg chg="del">
          <pc:chgData name="Paul Jordan" userId="ed43b065-ed91-4d94-a70c-3ec7c0759f23" providerId="ADAL" clId="{2C32DC77-3316-5A44-99F4-3731869D0700}" dt="2023-01-18T22:04:39.284" v="17" actId="2696"/>
          <pc:sldLayoutMkLst>
            <pc:docMk/>
            <pc:sldMasterMk cId="3384072690" sldId="2147483648"/>
            <pc:sldLayoutMk cId="1124881646" sldId="2147483649"/>
          </pc:sldLayoutMkLst>
        </pc:sldLayoutChg>
        <pc:sldLayoutChg chg="del">
          <pc:chgData name="Paul Jordan" userId="ed43b065-ed91-4d94-a70c-3ec7c0759f23" providerId="ADAL" clId="{2C32DC77-3316-5A44-99F4-3731869D0700}" dt="2023-01-18T22:04:39.306" v="20" actId="2696"/>
          <pc:sldLayoutMkLst>
            <pc:docMk/>
            <pc:sldMasterMk cId="3384072690" sldId="2147483648"/>
            <pc:sldLayoutMk cId="923609477" sldId="2147483650"/>
          </pc:sldLayoutMkLst>
        </pc:sldLayoutChg>
        <pc:sldLayoutChg chg="del">
          <pc:chgData name="Paul Jordan" userId="ed43b065-ed91-4d94-a70c-3ec7c0759f23" providerId="ADAL" clId="{2C32DC77-3316-5A44-99F4-3731869D0700}" dt="2023-01-18T22:04:39.314" v="22" actId="2696"/>
          <pc:sldLayoutMkLst>
            <pc:docMk/>
            <pc:sldMasterMk cId="3384072690" sldId="2147483648"/>
            <pc:sldLayoutMk cId="3299997807" sldId="2147483651"/>
          </pc:sldLayoutMkLst>
        </pc:sldLayoutChg>
        <pc:sldLayoutChg chg="del">
          <pc:chgData name="Paul Jordan" userId="ed43b065-ed91-4d94-a70c-3ec7c0759f23" providerId="ADAL" clId="{2C32DC77-3316-5A44-99F4-3731869D0700}" dt="2023-01-18T22:04:39.335" v="25" actId="2696"/>
          <pc:sldLayoutMkLst>
            <pc:docMk/>
            <pc:sldMasterMk cId="3384072690" sldId="2147483648"/>
            <pc:sldLayoutMk cId="2274002050" sldId="2147483652"/>
          </pc:sldLayoutMkLst>
        </pc:sldLayoutChg>
        <pc:sldLayoutChg chg="del">
          <pc:chgData name="Paul Jordan" userId="ed43b065-ed91-4d94-a70c-3ec7c0759f23" providerId="ADAL" clId="{2C32DC77-3316-5A44-99F4-3731869D0700}" dt="2023-01-18T22:04:39.305" v="19" actId="2696"/>
          <pc:sldLayoutMkLst>
            <pc:docMk/>
            <pc:sldMasterMk cId="3384072690" sldId="2147483648"/>
            <pc:sldLayoutMk cId="330866286" sldId="2147483653"/>
          </pc:sldLayoutMkLst>
        </pc:sldLayoutChg>
        <pc:sldLayoutChg chg="del">
          <pc:chgData name="Paul Jordan" userId="ed43b065-ed91-4d94-a70c-3ec7c0759f23" providerId="ADAL" clId="{2C32DC77-3316-5A44-99F4-3731869D0700}" dt="2023-01-18T22:04:39.334" v="24" actId="2696"/>
          <pc:sldLayoutMkLst>
            <pc:docMk/>
            <pc:sldMasterMk cId="3384072690" sldId="2147483648"/>
            <pc:sldLayoutMk cId="3648603360" sldId="2147483654"/>
          </pc:sldLayoutMkLst>
        </pc:sldLayoutChg>
        <pc:sldLayoutChg chg="del">
          <pc:chgData name="Paul Jordan" userId="ed43b065-ed91-4d94-a70c-3ec7c0759f23" providerId="ADAL" clId="{2C32DC77-3316-5A44-99F4-3731869D0700}" dt="2023-01-18T22:04:39.313" v="21" actId="2696"/>
          <pc:sldLayoutMkLst>
            <pc:docMk/>
            <pc:sldMasterMk cId="3384072690" sldId="2147483648"/>
            <pc:sldLayoutMk cId="2731209191" sldId="2147483655"/>
          </pc:sldLayoutMkLst>
        </pc:sldLayoutChg>
        <pc:sldLayoutChg chg="del">
          <pc:chgData name="Paul Jordan" userId="ed43b065-ed91-4d94-a70c-3ec7c0759f23" providerId="ADAL" clId="{2C32DC77-3316-5A44-99F4-3731869D0700}" dt="2023-01-18T22:04:39.333" v="23" actId="2696"/>
          <pc:sldLayoutMkLst>
            <pc:docMk/>
            <pc:sldMasterMk cId="3384072690" sldId="2147483648"/>
            <pc:sldLayoutMk cId="2314808345" sldId="2147483656"/>
          </pc:sldLayoutMkLst>
        </pc:sldLayoutChg>
        <pc:sldLayoutChg chg="del">
          <pc:chgData name="Paul Jordan" userId="ed43b065-ed91-4d94-a70c-3ec7c0759f23" providerId="ADAL" clId="{2C32DC77-3316-5A44-99F4-3731869D0700}" dt="2023-01-18T22:04:39.343" v="27" actId="2696"/>
          <pc:sldLayoutMkLst>
            <pc:docMk/>
            <pc:sldMasterMk cId="3384072690" sldId="2147483648"/>
            <pc:sldLayoutMk cId="3256835073" sldId="2147483657"/>
          </pc:sldLayoutMkLst>
        </pc:sldLayoutChg>
        <pc:sldLayoutChg chg="del">
          <pc:chgData name="Paul Jordan" userId="ed43b065-ed91-4d94-a70c-3ec7c0759f23" providerId="ADAL" clId="{2C32DC77-3316-5A44-99F4-3731869D0700}" dt="2023-01-18T22:04:39.342" v="26" actId="2696"/>
          <pc:sldLayoutMkLst>
            <pc:docMk/>
            <pc:sldMasterMk cId="3384072690" sldId="2147483648"/>
            <pc:sldLayoutMk cId="3274843563" sldId="2147483658"/>
          </pc:sldLayoutMkLst>
        </pc:sldLayoutChg>
        <pc:sldLayoutChg chg="del">
          <pc:chgData name="Paul Jordan" userId="ed43b065-ed91-4d94-a70c-3ec7c0759f23" providerId="ADAL" clId="{2C32DC77-3316-5A44-99F4-3731869D0700}" dt="2023-01-18T22:04:39.303" v="18" actId="2696"/>
          <pc:sldLayoutMkLst>
            <pc:docMk/>
            <pc:sldMasterMk cId="3384072690" sldId="2147483648"/>
            <pc:sldLayoutMk cId="3096811047" sldId="2147483659"/>
          </pc:sldLayoutMkLst>
        </pc:sldLayoutChg>
      </pc:sldMasterChg>
      <pc:sldMasterChg chg="addSp delSp modSp mod addSldLayout modSldLayout">
        <pc:chgData name="Paul Jordan" userId="ed43b065-ed91-4d94-a70c-3ec7c0759f23" providerId="ADAL" clId="{2C32DC77-3316-5A44-99F4-3731869D0700}" dt="2023-01-19T01:41:04.308" v="6888" actId="21"/>
        <pc:sldMasterMkLst>
          <pc:docMk/>
          <pc:sldMasterMk cId="3756310666" sldId="2147483660"/>
        </pc:sldMasterMkLst>
        <pc:spChg chg="mod">
          <ac:chgData name="Paul Jordan" userId="ed43b065-ed91-4d94-a70c-3ec7c0759f23" providerId="ADAL" clId="{2C32DC77-3316-5A44-99F4-3731869D0700}" dt="2023-01-18T22:05:55.667" v="48" actId="948"/>
          <ac:spMkLst>
            <pc:docMk/>
            <pc:sldMasterMk cId="3756310666" sldId="2147483660"/>
            <ac:spMk id="2" creationId="{C2A4C714-88DC-47D6-80A8-F679908A1DCC}"/>
          </ac:spMkLst>
        </pc:spChg>
        <pc:spChg chg="add del mod modVis">
          <ac:chgData name="Paul Jordan" userId="ed43b065-ed91-4d94-a70c-3ec7c0759f23" providerId="ADAL" clId="{2C32DC77-3316-5A44-99F4-3731869D0700}" dt="2023-01-18T22:05:55.752" v="127"/>
          <ac:spMkLst>
            <pc:docMk/>
            <pc:sldMasterMk cId="3756310666" sldId="2147483660"/>
            <ac:spMk id="4" creationId="{4C941B07-B00F-8326-9551-5DD418C663A2}"/>
          </ac:spMkLst>
        </pc:spChg>
        <pc:graphicFrameChg chg="add mod modVis replST">
          <ac:chgData name="Paul Jordan" userId="ed43b065-ed91-4d94-a70c-3ec7c0759f23" providerId="ADAL" clId="{2C32DC77-3316-5A44-99F4-3731869D0700}" dt="2023-01-18T22:05:55.782" v="142"/>
          <ac:graphicFrameMkLst>
            <pc:docMk/>
            <pc:sldMasterMk cId="3756310666" sldId="2147483660"/>
            <ac:graphicFrameMk id="6" creationId="{ADAAFE6C-20FC-DD6D-236E-8E9DF91D1C7C}"/>
          </ac:graphicFrameMkLst>
        </pc:graphicFrameChg>
        <pc:picChg chg="del">
          <ac:chgData name="Paul Jordan" userId="ed43b065-ed91-4d94-a70c-3ec7c0759f23" providerId="ADAL" clId="{2C32DC77-3316-5A44-99F4-3731869D0700}" dt="2023-01-18T22:21:32.829" v="2715" actId="21"/>
          <ac:picMkLst>
            <pc:docMk/>
            <pc:sldMasterMk cId="3756310666" sldId="2147483660"/>
            <ac:picMk id="10" creationId="{7F6ED770-7F17-4897-BEAB-A33293B35C4E}"/>
          </ac:picMkLst>
        </pc:picChg>
        <pc:sldLayoutChg chg="delSp mod">
          <pc:chgData name="Paul Jordan" userId="ed43b065-ed91-4d94-a70c-3ec7c0759f23" providerId="ADAL" clId="{2C32DC77-3316-5A44-99F4-3731869D0700}" dt="2023-01-19T01:41:04.308" v="6888" actId="21"/>
          <pc:sldLayoutMkLst>
            <pc:docMk/>
            <pc:sldMasterMk cId="3756310666" sldId="2147483660"/>
            <pc:sldLayoutMk cId="153444921" sldId="2147483661"/>
          </pc:sldLayoutMkLst>
          <pc:graphicFrameChg chg="del">
            <ac:chgData name="Paul Jordan" userId="ed43b065-ed91-4d94-a70c-3ec7c0759f23" providerId="ADAL" clId="{2C32DC77-3316-5A44-99F4-3731869D0700}" dt="2023-01-19T01:41:04.308" v="6888" actId="21"/>
            <ac:graphicFrameMkLst>
              <pc:docMk/>
              <pc:sldMasterMk cId="3756310666" sldId="2147483660"/>
              <pc:sldLayoutMk cId="153444921" sldId="2147483661"/>
              <ac:graphicFrameMk id="46" creationId="{011552AE-F36B-4633-B0E4-D3400892A8DC}"/>
            </ac:graphicFrameMkLst>
          </pc:graphicFrameChg>
        </pc:sldLayoutChg>
        <pc:sldLayoutChg chg="addSp delSp modSp new mod setBg">
          <pc:chgData name="Paul Jordan" userId="ed43b065-ed91-4d94-a70c-3ec7c0759f23" providerId="ADAL" clId="{2C32DC77-3316-5A44-99F4-3731869D0700}" dt="2023-01-18T22:21:39.448" v="2716"/>
          <pc:sldLayoutMkLst>
            <pc:docMk/>
            <pc:sldMasterMk cId="3756310666" sldId="2147483660"/>
            <pc:sldLayoutMk cId="2252256440" sldId="2147483664"/>
          </pc:sldLayoutMkLst>
          <pc:spChg chg="mod">
            <ac:chgData name="Paul Jordan" userId="ed43b065-ed91-4d94-a70c-3ec7c0759f23" providerId="ADAL" clId="{2C32DC77-3316-5A44-99F4-3731869D0700}" dt="2023-01-18T22:21:24.318" v="2671" actId="948"/>
            <ac:spMkLst>
              <pc:docMk/>
              <pc:sldMasterMk cId="3756310666" sldId="2147483660"/>
              <pc:sldLayoutMk cId="2252256440" sldId="2147483664"/>
              <ac:spMk id="2" creationId="{177706E3-20F4-8012-29F8-A97BD2C248B4}"/>
            </ac:spMkLst>
          </pc:spChg>
          <pc:spChg chg="mod">
            <ac:chgData name="Paul Jordan" userId="ed43b065-ed91-4d94-a70c-3ec7c0759f23" providerId="ADAL" clId="{2C32DC77-3316-5A44-99F4-3731869D0700}" dt="2023-01-18T22:07:28.466" v="248"/>
            <ac:spMkLst>
              <pc:docMk/>
              <pc:sldMasterMk cId="3756310666" sldId="2147483660"/>
              <pc:sldLayoutMk cId="2252256440" sldId="2147483664"/>
              <ac:spMk id="3" creationId="{73287228-06B7-915F-57A2-A87773C48872}"/>
            </ac:spMkLst>
          </pc:spChg>
          <pc:spChg chg="mod">
            <ac:chgData name="Paul Jordan" userId="ed43b065-ed91-4d94-a70c-3ec7c0759f23" providerId="ADAL" clId="{2C32DC77-3316-5A44-99F4-3731869D0700}" dt="2023-01-18T22:07:28.466" v="249"/>
            <ac:spMkLst>
              <pc:docMk/>
              <pc:sldMasterMk cId="3756310666" sldId="2147483660"/>
              <pc:sldLayoutMk cId="2252256440" sldId="2147483664"/>
              <ac:spMk id="4" creationId="{18589F0A-55EB-8C0B-2F4D-A0F64895E2DB}"/>
            </ac:spMkLst>
          </pc:spChg>
          <pc:spChg chg="add del mod">
            <ac:chgData name="Paul Jordan" userId="ed43b065-ed91-4d94-a70c-3ec7c0759f23" providerId="ADAL" clId="{2C32DC77-3316-5A44-99F4-3731869D0700}" dt="2023-01-18T22:06:23.417" v="164" actId="478"/>
            <ac:spMkLst>
              <pc:docMk/>
              <pc:sldMasterMk cId="3756310666" sldId="2147483660"/>
              <pc:sldLayoutMk cId="2252256440" sldId="2147483664"/>
              <ac:spMk id="5" creationId="{333B4FF6-DC7A-71A1-53FB-290B7ADEA308}"/>
            </ac:spMkLst>
          </pc:spChg>
          <pc:spChg chg="add del mod">
            <ac:chgData name="Paul Jordan" userId="ed43b065-ed91-4d94-a70c-3ec7c0759f23" providerId="ADAL" clId="{2C32DC77-3316-5A44-99F4-3731869D0700}" dt="2023-01-18T22:07:31.146" v="270" actId="478"/>
            <ac:spMkLst>
              <pc:docMk/>
              <pc:sldMasterMk cId="3756310666" sldId="2147483660"/>
              <pc:sldLayoutMk cId="2252256440" sldId="2147483664"/>
              <ac:spMk id="6" creationId="{10B83F91-F4FF-F803-0288-EAC99CC3D756}"/>
            </ac:spMkLst>
          </pc:spChg>
          <pc:spChg chg="add mod">
            <ac:chgData name="Paul Jordan" userId="ed43b065-ed91-4d94-a70c-3ec7c0759f23" providerId="ADAL" clId="{2C32DC77-3316-5A44-99F4-3731869D0700}" dt="2023-01-18T22:07:34.028" v="271" actId="20577"/>
            <ac:spMkLst>
              <pc:docMk/>
              <pc:sldMasterMk cId="3756310666" sldId="2147483660"/>
              <pc:sldLayoutMk cId="2252256440" sldId="2147483664"/>
              <ac:spMk id="7" creationId="{A79A1053-6076-236F-3014-CF947DC7C7EC}"/>
            </ac:spMkLst>
          </pc:spChg>
          <pc:spChg chg="add del mod modVis">
            <ac:chgData name="Paul Jordan" userId="ed43b065-ed91-4d94-a70c-3ec7c0759f23" providerId="ADAL" clId="{2C32DC77-3316-5A44-99F4-3731869D0700}" dt="2023-01-18T22:07:28.469" v="254"/>
            <ac:spMkLst>
              <pc:docMk/>
              <pc:sldMasterMk cId="3756310666" sldId="2147483660"/>
              <pc:sldLayoutMk cId="2252256440" sldId="2147483664"/>
              <ac:spMk id="8" creationId="{4A61521C-45F0-5053-AAD0-6A4E865C81E4}"/>
            </ac:spMkLst>
          </pc:spChg>
          <pc:spChg chg="add mod">
            <ac:chgData name="Paul Jordan" userId="ed43b065-ed91-4d94-a70c-3ec7c0759f23" providerId="ADAL" clId="{2C32DC77-3316-5A44-99F4-3731869D0700}" dt="2023-01-18T22:07:39.713" v="272"/>
            <ac:spMkLst>
              <pc:docMk/>
              <pc:sldMasterMk cId="3756310666" sldId="2147483660"/>
              <pc:sldLayoutMk cId="2252256440" sldId="2147483664"/>
              <ac:spMk id="10" creationId="{E8E55DB6-8B50-42DD-320C-3E20C6866370}"/>
            </ac:spMkLst>
          </pc:spChg>
          <pc:spChg chg="add del mod modVis">
            <ac:chgData name="Paul Jordan" userId="ed43b065-ed91-4d94-a70c-3ec7c0759f23" providerId="ADAL" clId="{2C32DC77-3316-5A44-99F4-3731869D0700}" dt="2023-01-18T22:21:24.373" v="2712"/>
            <ac:spMkLst>
              <pc:docMk/>
              <pc:sldMasterMk cId="3756310666" sldId="2147483660"/>
              <pc:sldLayoutMk cId="2252256440" sldId="2147483664"/>
              <ac:spMk id="11" creationId="{DCAB9C18-D5CD-CEA1-CD46-65C6ABE76813}"/>
            </ac:spMkLst>
          </pc:spChg>
          <pc:graphicFrameChg chg="add mod modVis replST">
            <ac:chgData name="Paul Jordan" userId="ed43b065-ed91-4d94-a70c-3ec7c0759f23" providerId="ADAL" clId="{2C32DC77-3316-5A44-99F4-3731869D0700}" dt="2023-01-18T22:21:24.380" v="2714"/>
            <ac:graphicFrameMkLst>
              <pc:docMk/>
              <pc:sldMasterMk cId="3756310666" sldId="2147483660"/>
              <pc:sldLayoutMk cId="2252256440" sldId="2147483664"/>
              <ac:graphicFrameMk id="9" creationId="{72CB5F4B-8A39-A61E-2032-1D76F2BA0575}"/>
            </ac:graphicFrameMkLst>
          </pc:graphicFrameChg>
          <pc:picChg chg="add mod">
            <ac:chgData name="Paul Jordan" userId="ed43b065-ed91-4d94-a70c-3ec7c0759f23" providerId="ADAL" clId="{2C32DC77-3316-5A44-99F4-3731869D0700}" dt="2023-01-18T22:21:39.448" v="2716"/>
            <ac:picMkLst>
              <pc:docMk/>
              <pc:sldMasterMk cId="3756310666" sldId="2147483660"/>
              <pc:sldLayoutMk cId="2252256440" sldId="2147483664"/>
              <ac:picMk id="12" creationId="{8DDA81C3-F2C2-CC5B-1CDB-E5A530C695FC}"/>
            </ac:picMkLst>
          </pc:picChg>
        </pc:sldLayoutChg>
      </pc:sldMasterChg>
    </pc:docChg>
  </pc:docChgLst>
  <pc:docChgLst>
    <pc:chgData name="Shourie, Suraj" userId="S::sshourie3@gatech.edu::86feb3a9-e74c-4603-989d-f1e4cb681bb2" providerId="AD" clId="Web-{65C04F6E-BB7B-4035-B3A4-46BDD55C3AE1}"/>
    <pc:docChg chg="sldOrd">
      <pc:chgData name="Shourie, Suraj" userId="S::sshourie3@gatech.edu::86feb3a9-e74c-4603-989d-f1e4cb681bb2" providerId="AD" clId="Web-{65C04F6E-BB7B-4035-B3A4-46BDD55C3AE1}" dt="2023-01-20T01:18:03.033" v="0"/>
      <pc:docMkLst>
        <pc:docMk/>
      </pc:docMkLst>
      <pc:sldChg chg="ord">
        <pc:chgData name="Shourie, Suraj" userId="S::sshourie3@gatech.edu::86feb3a9-e74c-4603-989d-f1e4cb681bb2" providerId="AD" clId="Web-{65C04F6E-BB7B-4035-B3A4-46BDD55C3AE1}" dt="2023-01-20T01:18:03.033" v="0"/>
        <pc:sldMkLst>
          <pc:docMk/>
          <pc:sldMk cId="1610884881" sldId="260"/>
        </pc:sldMkLst>
      </pc:sldChg>
    </pc:docChg>
  </pc:docChgLst>
  <pc:docChgLst>
    <pc:chgData name="Shourie, Suraj" userId="S::sshourie3@gatech.edu::86feb3a9-e74c-4603-989d-f1e4cb681bb2" providerId="AD" clId="Web-{96EA9BD4-3EFF-4E6D-A49C-4906384E4AC3}"/>
    <pc:docChg chg="modSld">
      <pc:chgData name="Shourie, Suraj" userId="S::sshourie3@gatech.edu::86feb3a9-e74c-4603-989d-f1e4cb681bb2" providerId="AD" clId="Web-{96EA9BD4-3EFF-4E6D-A49C-4906384E4AC3}" dt="2023-01-20T03:12:48.809" v="13" actId="1076"/>
      <pc:docMkLst>
        <pc:docMk/>
      </pc:docMkLst>
      <pc:sldChg chg="modSp">
        <pc:chgData name="Shourie, Suraj" userId="S::sshourie3@gatech.edu::86feb3a9-e74c-4603-989d-f1e4cb681bb2" providerId="AD" clId="Web-{96EA9BD4-3EFF-4E6D-A49C-4906384E4AC3}" dt="2023-01-20T03:12:22.246" v="12" actId="20577"/>
        <pc:sldMkLst>
          <pc:docMk/>
          <pc:sldMk cId="3536957954" sldId="265"/>
        </pc:sldMkLst>
        <pc:spChg chg="mod">
          <ac:chgData name="Shourie, Suraj" userId="S::sshourie3@gatech.edu::86feb3a9-e74c-4603-989d-f1e4cb681bb2" providerId="AD" clId="Web-{96EA9BD4-3EFF-4E6D-A49C-4906384E4AC3}" dt="2023-01-20T03:12:22.246" v="12" actId="20577"/>
          <ac:spMkLst>
            <pc:docMk/>
            <pc:sldMk cId="3536957954" sldId="265"/>
            <ac:spMk id="4" creationId="{6A047E8C-A273-5F9A-E1E5-02AF9B75C7FA}"/>
          </ac:spMkLst>
        </pc:spChg>
      </pc:sldChg>
      <pc:sldChg chg="modSp">
        <pc:chgData name="Shourie, Suraj" userId="S::sshourie3@gatech.edu::86feb3a9-e74c-4603-989d-f1e4cb681bb2" providerId="AD" clId="Web-{96EA9BD4-3EFF-4E6D-A49C-4906384E4AC3}" dt="2023-01-20T03:12:48.809" v="13" actId="1076"/>
        <pc:sldMkLst>
          <pc:docMk/>
          <pc:sldMk cId="2795900345" sldId="267"/>
        </pc:sldMkLst>
        <pc:picChg chg="mod">
          <ac:chgData name="Shourie, Suraj" userId="S::sshourie3@gatech.edu::86feb3a9-e74c-4603-989d-f1e4cb681bb2" providerId="AD" clId="Web-{96EA9BD4-3EFF-4E6D-A49C-4906384E4AC3}" dt="2023-01-20T03:12:48.809" v="13" actId="1076"/>
          <ac:picMkLst>
            <pc:docMk/>
            <pc:sldMk cId="2795900345" sldId="267"/>
            <ac:picMk id="12" creationId="{745480A2-FCEF-7275-F84E-8B64BCEBCD3F}"/>
          </ac:picMkLst>
        </pc:picChg>
      </pc:sldChg>
    </pc:docChg>
  </pc:docChgLst>
  <pc:docChgLst>
    <pc:chgData name="Porwal, Sanchita" userId="71fd178e-3367-4ed1-8e3d-ea794edf1079" providerId="ADAL" clId="{C58FFC49-D1AF-4F92-BADF-CF9EAD4B3BCF}"/>
    <pc:docChg chg="undo custSel addSld delSld modSld">
      <pc:chgData name="Porwal, Sanchita" userId="71fd178e-3367-4ed1-8e3d-ea794edf1079" providerId="ADAL" clId="{C58FFC49-D1AF-4F92-BADF-CF9EAD4B3BCF}" dt="2023-01-20T04:36:06.655" v="5478" actId="20577"/>
      <pc:docMkLst>
        <pc:docMk/>
      </pc:docMkLst>
      <pc:sldChg chg="addSp delSp modSp mod">
        <pc:chgData name="Porwal, Sanchita" userId="71fd178e-3367-4ed1-8e3d-ea794edf1079" providerId="ADAL" clId="{C58FFC49-D1AF-4F92-BADF-CF9EAD4B3BCF}" dt="2023-01-20T04:09:07.929" v="4947" actId="20577"/>
        <pc:sldMkLst>
          <pc:docMk/>
          <pc:sldMk cId="2179472015" sldId="256"/>
        </pc:sldMkLst>
        <pc:spChg chg="add del mod">
          <ac:chgData name="Porwal, Sanchita" userId="71fd178e-3367-4ed1-8e3d-ea794edf1079" providerId="ADAL" clId="{C58FFC49-D1AF-4F92-BADF-CF9EAD4B3BCF}" dt="2023-01-18T23:30:52.064" v="1065"/>
          <ac:spMkLst>
            <pc:docMk/>
            <pc:sldMk cId="2179472015" sldId="256"/>
            <ac:spMk id="6" creationId="{ABE48373-3849-38C9-9A89-BC37E5F6A2E6}"/>
          </ac:spMkLst>
        </pc:spChg>
        <pc:spChg chg="mod">
          <ac:chgData name="Porwal, Sanchita" userId="71fd178e-3367-4ed1-8e3d-ea794edf1079" providerId="ADAL" clId="{C58FFC49-D1AF-4F92-BADF-CF9EAD4B3BCF}" dt="2023-01-20T04:09:07.929" v="4947" actId="20577"/>
          <ac:spMkLst>
            <pc:docMk/>
            <pc:sldMk cId="2179472015" sldId="256"/>
            <ac:spMk id="43" creationId="{2EE24C2B-21AC-DC56-7900-2E975A8F8B16}"/>
          </ac:spMkLst>
        </pc:spChg>
        <pc:spChg chg="mod">
          <ac:chgData name="Porwal, Sanchita" userId="71fd178e-3367-4ed1-8e3d-ea794edf1079" providerId="ADAL" clId="{C58FFC49-D1AF-4F92-BADF-CF9EAD4B3BCF}" dt="2023-01-18T23:38:32.490" v="1416" actId="408"/>
          <ac:spMkLst>
            <pc:docMk/>
            <pc:sldMk cId="2179472015" sldId="256"/>
            <ac:spMk id="44" creationId="{E08C17FB-6C5E-4E46-7049-9F0D1CCC3BAE}"/>
          </ac:spMkLst>
        </pc:spChg>
        <pc:spChg chg="mod">
          <ac:chgData name="Porwal, Sanchita" userId="71fd178e-3367-4ed1-8e3d-ea794edf1079" providerId="ADAL" clId="{C58FFC49-D1AF-4F92-BADF-CF9EAD4B3BCF}" dt="2023-01-18T23:38:32.490" v="1416" actId="408"/>
          <ac:spMkLst>
            <pc:docMk/>
            <pc:sldMk cId="2179472015" sldId="256"/>
            <ac:spMk id="45" creationId="{CC3F9BA2-6A77-FAF8-79AA-0D639427B601}"/>
          </ac:spMkLst>
        </pc:spChg>
        <pc:spChg chg="mod">
          <ac:chgData name="Porwal, Sanchita" userId="71fd178e-3367-4ed1-8e3d-ea794edf1079" providerId="ADAL" clId="{C58FFC49-D1AF-4F92-BADF-CF9EAD4B3BCF}" dt="2023-01-18T23:38:26.248" v="1415" actId="1038"/>
          <ac:spMkLst>
            <pc:docMk/>
            <pc:sldMk cId="2179472015" sldId="256"/>
            <ac:spMk id="46" creationId="{5895D03A-DCCE-68D7-C2E2-ECF7BDEF8417}"/>
          </ac:spMkLst>
        </pc:spChg>
        <pc:picChg chg="mod">
          <ac:chgData name="Porwal, Sanchita" userId="71fd178e-3367-4ed1-8e3d-ea794edf1079" providerId="ADAL" clId="{C58FFC49-D1AF-4F92-BADF-CF9EAD4B3BCF}" dt="2023-01-18T23:38:13.641" v="1402" actId="408"/>
          <ac:picMkLst>
            <pc:docMk/>
            <pc:sldMk cId="2179472015" sldId="256"/>
            <ac:picMk id="4" creationId="{2AC385E7-B449-661D-8E84-8202BC07FB48}"/>
          </ac:picMkLst>
        </pc:picChg>
        <pc:picChg chg="mod">
          <ac:chgData name="Porwal, Sanchita" userId="71fd178e-3367-4ed1-8e3d-ea794edf1079" providerId="ADAL" clId="{C58FFC49-D1AF-4F92-BADF-CF9EAD4B3BCF}" dt="2023-01-18T23:38:13.641" v="1402" actId="408"/>
          <ac:picMkLst>
            <pc:docMk/>
            <pc:sldMk cId="2179472015" sldId="256"/>
            <ac:picMk id="37" creationId="{67EF921B-3E6E-6D24-4E71-1AB881BA84D1}"/>
          </ac:picMkLst>
        </pc:picChg>
        <pc:picChg chg="mod">
          <ac:chgData name="Porwal, Sanchita" userId="71fd178e-3367-4ed1-8e3d-ea794edf1079" providerId="ADAL" clId="{C58FFC49-D1AF-4F92-BADF-CF9EAD4B3BCF}" dt="2023-01-18T23:31:06.121" v="1067" actId="12788"/>
          <ac:picMkLst>
            <pc:docMk/>
            <pc:sldMk cId="2179472015" sldId="256"/>
            <ac:picMk id="38" creationId="{3463EA7B-637E-5B5B-123E-F6288FDF6193}"/>
          </ac:picMkLst>
        </pc:picChg>
        <pc:picChg chg="mod">
          <ac:chgData name="Porwal, Sanchita" userId="71fd178e-3367-4ed1-8e3d-ea794edf1079" providerId="ADAL" clId="{C58FFC49-D1AF-4F92-BADF-CF9EAD4B3BCF}" dt="2023-01-18T23:38:06.288" v="1401" actId="1038"/>
          <ac:picMkLst>
            <pc:docMk/>
            <pc:sldMk cId="2179472015" sldId="256"/>
            <ac:picMk id="42" creationId="{06FCD972-B978-D778-463F-0E3398189606}"/>
          </ac:picMkLst>
        </pc:picChg>
      </pc:sldChg>
      <pc:sldChg chg="addSp delSp modSp mod">
        <pc:chgData name="Porwal, Sanchita" userId="71fd178e-3367-4ed1-8e3d-ea794edf1079" providerId="ADAL" clId="{C58FFC49-D1AF-4F92-BADF-CF9EAD4B3BCF}" dt="2023-01-20T04:16:45.275" v="5277" actId="113"/>
        <pc:sldMkLst>
          <pc:docMk/>
          <pc:sldMk cId="995690777" sldId="258"/>
        </pc:sldMkLst>
        <pc:spChg chg="mod">
          <ac:chgData name="Porwal, Sanchita" userId="71fd178e-3367-4ed1-8e3d-ea794edf1079" providerId="ADAL" clId="{C58FFC49-D1AF-4F92-BADF-CF9EAD4B3BCF}" dt="2023-01-18T22:37:33.964" v="233" actId="20577"/>
          <ac:spMkLst>
            <pc:docMk/>
            <pc:sldMk cId="995690777" sldId="258"/>
            <ac:spMk id="2" creationId="{0FCA8915-49F5-B0A7-3E79-B63CE49D5147}"/>
          </ac:spMkLst>
        </pc:spChg>
        <pc:spChg chg="del">
          <ac:chgData name="Porwal, Sanchita" userId="71fd178e-3367-4ed1-8e3d-ea794edf1079" providerId="ADAL" clId="{C58FFC49-D1AF-4F92-BADF-CF9EAD4B3BCF}" dt="2023-01-18T22:23:20.297" v="0" actId="478"/>
          <ac:spMkLst>
            <pc:docMk/>
            <pc:sldMk cId="995690777" sldId="258"/>
            <ac:spMk id="4" creationId="{6A047E8C-A273-5F9A-E1E5-02AF9B75C7FA}"/>
          </ac:spMkLst>
        </pc:spChg>
        <pc:spChg chg="add mod">
          <ac:chgData name="Porwal, Sanchita" userId="71fd178e-3367-4ed1-8e3d-ea794edf1079" providerId="ADAL" clId="{C58FFC49-D1AF-4F92-BADF-CF9EAD4B3BCF}" dt="2023-01-19T00:21:10.273" v="2305" actId="113"/>
          <ac:spMkLst>
            <pc:docMk/>
            <pc:sldMk cId="995690777" sldId="258"/>
            <ac:spMk id="6" creationId="{1BBD2FBB-2CA5-DE80-3025-1245F298BEAF}"/>
          </ac:spMkLst>
        </pc:spChg>
        <pc:spChg chg="add mod">
          <ac:chgData name="Porwal, Sanchita" userId="71fd178e-3367-4ed1-8e3d-ea794edf1079" providerId="ADAL" clId="{C58FFC49-D1AF-4F92-BADF-CF9EAD4B3BCF}" dt="2023-01-20T04:16:45.275" v="5277" actId="113"/>
          <ac:spMkLst>
            <pc:docMk/>
            <pc:sldMk cId="995690777" sldId="258"/>
            <ac:spMk id="7" creationId="{1D8CD75C-A974-D276-A18E-F893BF122019}"/>
          </ac:spMkLst>
        </pc:spChg>
        <pc:spChg chg="add mod">
          <ac:chgData name="Porwal, Sanchita" userId="71fd178e-3367-4ed1-8e3d-ea794edf1079" providerId="ADAL" clId="{C58FFC49-D1AF-4F92-BADF-CF9EAD4B3BCF}" dt="2023-01-18T22:24:29.225" v="27" actId="20577"/>
          <ac:spMkLst>
            <pc:docMk/>
            <pc:sldMk cId="995690777" sldId="258"/>
            <ac:spMk id="8" creationId="{58A28288-960E-6CB3-A7EA-ED0C408AAEB7}"/>
          </ac:spMkLst>
        </pc:spChg>
        <pc:spChg chg="add mod">
          <ac:chgData name="Porwal, Sanchita" userId="71fd178e-3367-4ed1-8e3d-ea794edf1079" providerId="ADAL" clId="{C58FFC49-D1AF-4F92-BADF-CF9EAD4B3BCF}" dt="2023-01-18T22:27:17.068" v="89" actId="20577"/>
          <ac:spMkLst>
            <pc:docMk/>
            <pc:sldMk cId="995690777" sldId="258"/>
            <ac:spMk id="9" creationId="{FD9B3F50-A0DE-3D4B-8B50-C46DDC9D0CF2}"/>
          </ac:spMkLst>
        </pc:spChg>
        <pc:spChg chg="add mod">
          <ac:chgData name="Porwal, Sanchita" userId="71fd178e-3367-4ed1-8e3d-ea794edf1079" providerId="ADAL" clId="{C58FFC49-D1AF-4F92-BADF-CF9EAD4B3BCF}" dt="2023-01-18T22:24:21.628" v="19" actId="20577"/>
          <ac:spMkLst>
            <pc:docMk/>
            <pc:sldMk cId="995690777" sldId="258"/>
            <ac:spMk id="10" creationId="{E1D8DD94-D9A8-8118-A4BC-DC3DCE3E466D}"/>
          </ac:spMkLst>
        </pc:spChg>
        <pc:spChg chg="add mod">
          <ac:chgData name="Porwal, Sanchita" userId="71fd178e-3367-4ed1-8e3d-ea794edf1079" providerId="ADAL" clId="{C58FFC49-D1AF-4F92-BADF-CF9EAD4B3BCF}" dt="2023-01-18T22:25:15.809" v="59" actId="207"/>
          <ac:spMkLst>
            <pc:docMk/>
            <pc:sldMk cId="995690777" sldId="258"/>
            <ac:spMk id="13" creationId="{2200DD91-2B67-9D1F-A8CF-B96FCE6CBA80}"/>
          </ac:spMkLst>
        </pc:spChg>
        <pc:cxnChg chg="add mod">
          <ac:chgData name="Porwal, Sanchita" userId="71fd178e-3367-4ed1-8e3d-ea794edf1079" providerId="ADAL" clId="{C58FFC49-D1AF-4F92-BADF-CF9EAD4B3BCF}" dt="2023-01-18T22:23:29.014" v="2" actId="1076"/>
          <ac:cxnSpMkLst>
            <pc:docMk/>
            <pc:sldMk cId="995690777" sldId="258"/>
            <ac:cxnSpMk id="11" creationId="{70CECEAC-FE13-DCFC-FCF2-FEDEAA93A01E}"/>
          </ac:cxnSpMkLst>
        </pc:cxnChg>
        <pc:cxnChg chg="add mod">
          <ac:chgData name="Porwal, Sanchita" userId="71fd178e-3367-4ed1-8e3d-ea794edf1079" providerId="ADAL" clId="{C58FFC49-D1AF-4F92-BADF-CF9EAD4B3BCF}" dt="2023-01-18T22:23:29.014" v="2" actId="1076"/>
          <ac:cxnSpMkLst>
            <pc:docMk/>
            <pc:sldMk cId="995690777" sldId="258"/>
            <ac:cxnSpMk id="12" creationId="{1EC1F065-AF45-6F88-05DE-26C8A78B0FD4}"/>
          </ac:cxnSpMkLst>
        </pc:cxnChg>
      </pc:sldChg>
      <pc:sldChg chg="addSp delSp modSp mod">
        <pc:chgData name="Porwal, Sanchita" userId="71fd178e-3367-4ed1-8e3d-ea794edf1079" providerId="ADAL" clId="{C58FFC49-D1AF-4F92-BADF-CF9EAD4B3BCF}" dt="2023-01-20T04:20:25.783" v="5303" actId="113"/>
        <pc:sldMkLst>
          <pc:docMk/>
          <pc:sldMk cId="1303585" sldId="259"/>
        </pc:sldMkLst>
        <pc:spChg chg="mod">
          <ac:chgData name="Porwal, Sanchita" userId="71fd178e-3367-4ed1-8e3d-ea794edf1079" providerId="ADAL" clId="{C58FFC49-D1AF-4F92-BADF-CF9EAD4B3BCF}" dt="2023-01-18T22:38:29.496" v="288" actId="255"/>
          <ac:spMkLst>
            <pc:docMk/>
            <pc:sldMk cId="1303585" sldId="259"/>
            <ac:spMk id="2" creationId="{0FCA8915-49F5-B0A7-3E79-B63CE49D5147}"/>
          </ac:spMkLst>
        </pc:spChg>
        <pc:spChg chg="add mod">
          <ac:chgData name="Porwal, Sanchita" userId="71fd178e-3367-4ed1-8e3d-ea794edf1079" providerId="ADAL" clId="{C58FFC49-D1AF-4F92-BADF-CF9EAD4B3BCF}" dt="2023-01-19T20:34:09.539" v="3277" actId="114"/>
          <ac:spMkLst>
            <pc:docMk/>
            <pc:sldMk cId="1303585" sldId="259"/>
            <ac:spMk id="3" creationId="{D3AE4C14-166D-E5D8-B351-4D3EE6F14FC6}"/>
          </ac:spMkLst>
        </pc:spChg>
        <pc:spChg chg="mod">
          <ac:chgData name="Porwal, Sanchita" userId="71fd178e-3367-4ed1-8e3d-ea794edf1079" providerId="ADAL" clId="{C58FFC49-D1AF-4F92-BADF-CF9EAD4B3BCF}" dt="2023-01-20T04:18:36.021" v="5279"/>
          <ac:spMkLst>
            <pc:docMk/>
            <pc:sldMk cId="1303585" sldId="259"/>
            <ac:spMk id="27" creationId="{4DD8660C-64FD-977A-66F8-BF7E81EC3006}"/>
          </ac:spMkLst>
        </pc:spChg>
        <pc:spChg chg="add mod">
          <ac:chgData name="Porwal, Sanchita" userId="71fd178e-3367-4ed1-8e3d-ea794edf1079" providerId="ADAL" clId="{C58FFC49-D1AF-4F92-BADF-CF9EAD4B3BCF}" dt="2023-01-20T04:19:13.518" v="5283" actId="1076"/>
          <ac:spMkLst>
            <pc:docMk/>
            <pc:sldMk cId="1303585" sldId="259"/>
            <ac:spMk id="29" creationId="{4A2C6DE2-8668-CDA7-CAA9-C7CF8798312D}"/>
          </ac:spMkLst>
        </pc:spChg>
        <pc:spChg chg="del">
          <ac:chgData name="Porwal, Sanchita" userId="71fd178e-3367-4ed1-8e3d-ea794edf1079" providerId="ADAL" clId="{C58FFC49-D1AF-4F92-BADF-CF9EAD4B3BCF}" dt="2023-01-18T23:36:02.981" v="1315" actId="478"/>
          <ac:spMkLst>
            <pc:docMk/>
            <pc:sldMk cId="1303585" sldId="259"/>
            <ac:spMk id="1187" creationId="{3CF1661C-6891-44EA-6B36-1E6980E48ED6}"/>
          </ac:spMkLst>
        </pc:spChg>
        <pc:spChg chg="mod">
          <ac:chgData name="Porwal, Sanchita" userId="71fd178e-3367-4ed1-8e3d-ea794edf1079" providerId="ADAL" clId="{C58FFC49-D1AF-4F92-BADF-CF9EAD4B3BCF}" dt="2023-01-20T04:20:25.783" v="5303" actId="113"/>
          <ac:spMkLst>
            <pc:docMk/>
            <pc:sldMk cId="1303585" sldId="259"/>
            <ac:spMk id="1192" creationId="{13E720E7-5D10-E093-2742-D2FAC87C686E}"/>
          </ac:spMkLst>
        </pc:spChg>
        <pc:spChg chg="mod">
          <ac:chgData name="Porwal, Sanchita" userId="71fd178e-3367-4ed1-8e3d-ea794edf1079" providerId="ADAL" clId="{C58FFC49-D1AF-4F92-BADF-CF9EAD4B3BCF}" dt="2023-01-18T23:36:03.531" v="1316"/>
          <ac:spMkLst>
            <pc:docMk/>
            <pc:sldMk cId="1303585" sldId="259"/>
            <ac:spMk id="1193" creationId="{FDD32FCF-8C3A-26F8-2192-EE96E4C37EDF}"/>
          </ac:spMkLst>
        </pc:spChg>
        <pc:spChg chg="mod">
          <ac:chgData name="Porwal, Sanchita" userId="71fd178e-3367-4ed1-8e3d-ea794edf1079" providerId="ADAL" clId="{C58FFC49-D1AF-4F92-BADF-CF9EAD4B3BCF}" dt="2023-01-18T23:36:03.531" v="1316"/>
          <ac:spMkLst>
            <pc:docMk/>
            <pc:sldMk cId="1303585" sldId="259"/>
            <ac:spMk id="1195" creationId="{7A7CFBE9-B7D4-6CD1-1C5B-0850429A4392}"/>
          </ac:spMkLst>
        </pc:spChg>
        <pc:spChg chg="mod">
          <ac:chgData name="Porwal, Sanchita" userId="71fd178e-3367-4ed1-8e3d-ea794edf1079" providerId="ADAL" clId="{C58FFC49-D1AF-4F92-BADF-CF9EAD4B3BCF}" dt="2023-01-18T23:36:03.531" v="1316"/>
          <ac:spMkLst>
            <pc:docMk/>
            <pc:sldMk cId="1303585" sldId="259"/>
            <ac:spMk id="1196" creationId="{43D9DC65-336C-32E3-60F2-0720CB7F53CD}"/>
          </ac:spMkLst>
        </pc:spChg>
        <pc:grpChg chg="add mod">
          <ac:chgData name="Porwal, Sanchita" userId="71fd178e-3367-4ed1-8e3d-ea794edf1079" providerId="ADAL" clId="{C58FFC49-D1AF-4F92-BADF-CF9EAD4B3BCF}" dt="2023-01-18T23:36:08.180" v="1317" actId="1076"/>
          <ac:grpSpMkLst>
            <pc:docMk/>
            <pc:sldMk cId="1303585" sldId="259"/>
            <ac:grpSpMk id="6" creationId="{FA122F22-6916-86A7-2EBC-3D135D56DA3D}"/>
          </ac:grpSpMkLst>
        </pc:grpChg>
        <pc:grpChg chg="add mod">
          <ac:chgData name="Porwal, Sanchita" userId="71fd178e-3367-4ed1-8e3d-ea794edf1079" providerId="ADAL" clId="{C58FFC49-D1AF-4F92-BADF-CF9EAD4B3BCF}" dt="2023-01-20T04:18:42.297" v="5280" actId="1076"/>
          <ac:grpSpMkLst>
            <pc:docMk/>
            <pc:sldMk cId="1303585" sldId="259"/>
            <ac:grpSpMk id="26" creationId="{C65AC4DE-610A-B397-EC9F-E8AE5DE29B5D}"/>
          </ac:grpSpMkLst>
        </pc:grpChg>
        <pc:grpChg chg="del">
          <ac:chgData name="Porwal, Sanchita" userId="71fd178e-3367-4ed1-8e3d-ea794edf1079" providerId="ADAL" clId="{C58FFC49-D1AF-4F92-BADF-CF9EAD4B3BCF}" dt="2023-01-20T04:19:05.739" v="5281" actId="478"/>
          <ac:grpSpMkLst>
            <pc:docMk/>
            <pc:sldMk cId="1303585" sldId="259"/>
            <ac:grpSpMk id="1054" creationId="{C099AE71-D88E-61E8-355B-0D5B0BABBC22}"/>
          </ac:grpSpMkLst>
        </pc:grpChg>
        <pc:grpChg chg="del">
          <ac:chgData name="Porwal, Sanchita" userId="71fd178e-3367-4ed1-8e3d-ea794edf1079" providerId="ADAL" clId="{C58FFC49-D1AF-4F92-BADF-CF9EAD4B3BCF}" dt="2023-01-20T04:18:33.634" v="5278" actId="478"/>
          <ac:grpSpMkLst>
            <pc:docMk/>
            <pc:sldMk cId="1303585" sldId="259"/>
            <ac:grpSpMk id="1147" creationId="{4F7620D6-B44C-A522-BE96-3F2D575BBCA2}"/>
          </ac:grpSpMkLst>
        </pc:grpChg>
        <pc:grpChg chg="mod">
          <ac:chgData name="Porwal, Sanchita" userId="71fd178e-3367-4ed1-8e3d-ea794edf1079" providerId="ADAL" clId="{C58FFC49-D1AF-4F92-BADF-CF9EAD4B3BCF}" dt="2023-01-18T23:36:03.531" v="1316"/>
          <ac:grpSpMkLst>
            <pc:docMk/>
            <pc:sldMk cId="1303585" sldId="259"/>
            <ac:grpSpMk id="1189" creationId="{04DC888E-060A-7E1D-6B0C-89E1F250FB72}"/>
          </ac:grpSpMkLst>
        </pc:grpChg>
        <pc:grpChg chg="mod">
          <ac:chgData name="Porwal, Sanchita" userId="71fd178e-3367-4ed1-8e3d-ea794edf1079" providerId="ADAL" clId="{C58FFC49-D1AF-4F92-BADF-CF9EAD4B3BCF}" dt="2023-01-18T23:36:03.531" v="1316"/>
          <ac:grpSpMkLst>
            <pc:docMk/>
            <pc:sldMk cId="1303585" sldId="259"/>
            <ac:grpSpMk id="1194" creationId="{10417407-B613-7660-ADEE-D15AEAF9B02F}"/>
          </ac:grpSpMkLst>
        </pc:grpChg>
        <pc:picChg chg="mod">
          <ac:chgData name="Porwal, Sanchita" userId="71fd178e-3367-4ed1-8e3d-ea794edf1079" providerId="ADAL" clId="{C58FFC49-D1AF-4F92-BADF-CF9EAD4B3BCF}" dt="2023-01-20T04:18:36.021" v="5279"/>
          <ac:picMkLst>
            <pc:docMk/>
            <pc:sldMk cId="1303585" sldId="259"/>
            <ac:picMk id="28" creationId="{6FCFDD9F-B8F8-82DF-71EC-399ED2C45429}"/>
          </ac:picMkLst>
        </pc:picChg>
        <pc:cxnChg chg="mod">
          <ac:chgData name="Porwal, Sanchita" userId="71fd178e-3367-4ed1-8e3d-ea794edf1079" providerId="ADAL" clId="{C58FFC49-D1AF-4F92-BADF-CF9EAD4B3BCF}" dt="2023-01-18T23:36:03.531" v="1316"/>
          <ac:cxnSpMkLst>
            <pc:docMk/>
            <pc:sldMk cId="1303585" sldId="259"/>
            <ac:cxnSpMk id="7" creationId="{FA029949-D633-5AFC-1D48-30D84BEBD3CC}"/>
          </ac:cxnSpMkLst>
        </pc:cxnChg>
        <pc:cxnChg chg="del">
          <ac:chgData name="Porwal, Sanchita" userId="71fd178e-3367-4ed1-8e3d-ea794edf1079" providerId="ADAL" clId="{C58FFC49-D1AF-4F92-BADF-CF9EAD4B3BCF}" dt="2023-01-18T23:36:00.699" v="1314" actId="478"/>
          <ac:cxnSpMkLst>
            <pc:docMk/>
            <pc:sldMk cId="1303585" sldId="259"/>
            <ac:cxnSpMk id="1186" creationId="{3A7E561A-1EE6-F528-2931-A3034EBD2F73}"/>
          </ac:cxnSpMkLst>
        </pc:cxnChg>
      </pc:sldChg>
      <pc:sldChg chg="modSp mod">
        <pc:chgData name="Porwal, Sanchita" userId="71fd178e-3367-4ed1-8e3d-ea794edf1079" providerId="ADAL" clId="{C58FFC49-D1AF-4F92-BADF-CF9EAD4B3BCF}" dt="2023-01-18T22:45:07.344" v="549" actId="255"/>
        <pc:sldMkLst>
          <pc:docMk/>
          <pc:sldMk cId="1610884881" sldId="260"/>
        </pc:sldMkLst>
        <pc:spChg chg="mod">
          <ac:chgData name="Porwal, Sanchita" userId="71fd178e-3367-4ed1-8e3d-ea794edf1079" providerId="ADAL" clId="{C58FFC49-D1AF-4F92-BADF-CF9EAD4B3BCF}" dt="2023-01-18T22:45:07.344" v="549" actId="255"/>
          <ac:spMkLst>
            <pc:docMk/>
            <pc:sldMk cId="1610884881" sldId="260"/>
            <ac:spMk id="4" creationId="{6A047E8C-A273-5F9A-E1E5-02AF9B75C7FA}"/>
          </ac:spMkLst>
        </pc:spChg>
      </pc:sldChg>
      <pc:sldChg chg="modSp mod">
        <pc:chgData name="Porwal, Sanchita" userId="71fd178e-3367-4ed1-8e3d-ea794edf1079" providerId="ADAL" clId="{C58FFC49-D1AF-4F92-BADF-CF9EAD4B3BCF}" dt="2023-01-19T01:03:14.448" v="2307" actId="5793"/>
        <pc:sldMkLst>
          <pc:docMk/>
          <pc:sldMk cId="2340850937" sldId="261"/>
        </pc:sldMkLst>
        <pc:spChg chg="mod">
          <ac:chgData name="Porwal, Sanchita" userId="71fd178e-3367-4ed1-8e3d-ea794edf1079" providerId="ADAL" clId="{C58FFC49-D1AF-4F92-BADF-CF9EAD4B3BCF}" dt="2023-01-19T01:03:14.448" v="2307" actId="5793"/>
          <ac:spMkLst>
            <pc:docMk/>
            <pc:sldMk cId="2340850937" sldId="261"/>
            <ac:spMk id="4" creationId="{6A047E8C-A273-5F9A-E1E5-02AF9B75C7FA}"/>
          </ac:spMkLst>
        </pc:spChg>
      </pc:sldChg>
      <pc:sldChg chg="del">
        <pc:chgData name="Porwal, Sanchita" userId="71fd178e-3367-4ed1-8e3d-ea794edf1079" providerId="ADAL" clId="{C58FFC49-D1AF-4F92-BADF-CF9EAD4B3BCF}" dt="2023-01-18T22:27:26.003" v="90" actId="47"/>
        <pc:sldMkLst>
          <pc:docMk/>
          <pc:sldMk cId="236858550" sldId="262"/>
        </pc:sldMkLst>
      </pc:sldChg>
      <pc:sldChg chg="addSp delSp modSp mod">
        <pc:chgData name="Porwal, Sanchita" userId="71fd178e-3367-4ed1-8e3d-ea794edf1079" providerId="ADAL" clId="{C58FFC49-D1AF-4F92-BADF-CF9EAD4B3BCF}" dt="2023-01-20T04:36:06.655" v="5478" actId="20577"/>
        <pc:sldMkLst>
          <pc:docMk/>
          <pc:sldMk cId="3495379934" sldId="263"/>
        </pc:sldMkLst>
        <pc:spChg chg="mod">
          <ac:chgData name="Porwal, Sanchita" userId="71fd178e-3367-4ed1-8e3d-ea794edf1079" providerId="ADAL" clId="{C58FFC49-D1AF-4F92-BADF-CF9EAD4B3BCF}" dt="2023-01-20T04:36:06.655" v="5478" actId="20577"/>
          <ac:spMkLst>
            <pc:docMk/>
            <pc:sldMk cId="3495379934" sldId="263"/>
            <ac:spMk id="2" creationId="{0FCA8915-49F5-B0A7-3E79-B63CE49D5147}"/>
          </ac:spMkLst>
        </pc:spChg>
        <pc:spChg chg="del">
          <ac:chgData name="Porwal, Sanchita" userId="71fd178e-3367-4ed1-8e3d-ea794edf1079" providerId="ADAL" clId="{C58FFC49-D1AF-4F92-BADF-CF9EAD4B3BCF}" dt="2023-01-20T00:40:25.471" v="3283" actId="478"/>
          <ac:spMkLst>
            <pc:docMk/>
            <pc:sldMk cId="3495379934" sldId="263"/>
            <ac:spMk id="4" creationId="{6A047E8C-A273-5F9A-E1E5-02AF9B75C7FA}"/>
          </ac:spMkLst>
        </pc:spChg>
        <pc:spChg chg="add del mod">
          <ac:chgData name="Porwal, Sanchita" userId="71fd178e-3367-4ed1-8e3d-ea794edf1079" providerId="ADAL" clId="{C58FFC49-D1AF-4F92-BADF-CF9EAD4B3BCF}" dt="2023-01-20T03:57:17.453" v="4666" actId="478"/>
          <ac:spMkLst>
            <pc:docMk/>
            <pc:sldMk cId="3495379934" sldId="263"/>
            <ac:spMk id="6" creationId="{D8C1E27B-C01A-59FD-96CE-FAECEE65E337}"/>
          </ac:spMkLst>
        </pc:spChg>
        <pc:spChg chg="add mod">
          <ac:chgData name="Porwal, Sanchita" userId="71fd178e-3367-4ed1-8e3d-ea794edf1079" providerId="ADAL" clId="{C58FFC49-D1AF-4F92-BADF-CF9EAD4B3BCF}" dt="2023-01-20T03:57:45.228" v="4687" actId="14100"/>
          <ac:spMkLst>
            <pc:docMk/>
            <pc:sldMk cId="3495379934" sldId="263"/>
            <ac:spMk id="8" creationId="{C60DD031-6773-6BC6-A2CE-C8D20EF4EB1E}"/>
          </ac:spMkLst>
        </pc:spChg>
        <pc:spChg chg="mod">
          <ac:chgData name="Porwal, Sanchita" userId="71fd178e-3367-4ed1-8e3d-ea794edf1079" providerId="ADAL" clId="{C58FFC49-D1AF-4F92-BADF-CF9EAD4B3BCF}" dt="2023-01-20T00:44:12.190" v="3284"/>
          <ac:spMkLst>
            <pc:docMk/>
            <pc:sldMk cId="3495379934" sldId="263"/>
            <ac:spMk id="10" creationId="{3F015DC4-074F-BEEB-39FA-026C5E13C2D1}"/>
          </ac:spMkLst>
        </pc:spChg>
        <pc:spChg chg="mod">
          <ac:chgData name="Porwal, Sanchita" userId="71fd178e-3367-4ed1-8e3d-ea794edf1079" providerId="ADAL" clId="{C58FFC49-D1AF-4F92-BADF-CF9EAD4B3BCF}" dt="2023-01-20T00:44:12.190" v="3284"/>
          <ac:spMkLst>
            <pc:docMk/>
            <pc:sldMk cId="3495379934" sldId="263"/>
            <ac:spMk id="11" creationId="{EDB6911C-B5A9-FA6E-4330-A9937FCB7349}"/>
          </ac:spMkLst>
        </pc:spChg>
        <pc:spChg chg="mod">
          <ac:chgData name="Porwal, Sanchita" userId="71fd178e-3367-4ed1-8e3d-ea794edf1079" providerId="ADAL" clId="{C58FFC49-D1AF-4F92-BADF-CF9EAD4B3BCF}" dt="2023-01-20T00:44:12.190" v="3284"/>
          <ac:spMkLst>
            <pc:docMk/>
            <pc:sldMk cId="3495379934" sldId="263"/>
            <ac:spMk id="12" creationId="{E6354D9C-49A3-65F4-81B6-BC48ECA02E2E}"/>
          </ac:spMkLst>
        </pc:spChg>
        <pc:spChg chg="add mod">
          <ac:chgData name="Porwal, Sanchita" userId="71fd178e-3367-4ed1-8e3d-ea794edf1079" providerId="ADAL" clId="{C58FFC49-D1AF-4F92-BADF-CF9EAD4B3BCF}" dt="2023-01-20T03:57:45.228" v="4687" actId="14100"/>
          <ac:spMkLst>
            <pc:docMk/>
            <pc:sldMk cId="3495379934" sldId="263"/>
            <ac:spMk id="13" creationId="{55D09FF0-A27C-FC54-0AAB-EBCA712E23D7}"/>
          </ac:spMkLst>
        </pc:spChg>
        <pc:spChg chg="mod">
          <ac:chgData name="Porwal, Sanchita" userId="71fd178e-3367-4ed1-8e3d-ea794edf1079" providerId="ADAL" clId="{C58FFC49-D1AF-4F92-BADF-CF9EAD4B3BCF}" dt="2023-01-20T00:44:12.190" v="3284"/>
          <ac:spMkLst>
            <pc:docMk/>
            <pc:sldMk cId="3495379934" sldId="263"/>
            <ac:spMk id="15" creationId="{FBB63100-ECA6-2DF0-50B7-BC09CA15EE3A}"/>
          </ac:spMkLst>
        </pc:spChg>
        <pc:spChg chg="mod">
          <ac:chgData name="Porwal, Sanchita" userId="71fd178e-3367-4ed1-8e3d-ea794edf1079" providerId="ADAL" clId="{C58FFC49-D1AF-4F92-BADF-CF9EAD4B3BCF}" dt="2023-01-20T00:44:12.190" v="3284"/>
          <ac:spMkLst>
            <pc:docMk/>
            <pc:sldMk cId="3495379934" sldId="263"/>
            <ac:spMk id="16" creationId="{E4AF208B-126A-9559-0219-5B86DD915BE6}"/>
          </ac:spMkLst>
        </pc:spChg>
        <pc:spChg chg="mod">
          <ac:chgData name="Porwal, Sanchita" userId="71fd178e-3367-4ed1-8e3d-ea794edf1079" providerId="ADAL" clId="{C58FFC49-D1AF-4F92-BADF-CF9EAD4B3BCF}" dt="2023-01-20T00:44:12.190" v="3284"/>
          <ac:spMkLst>
            <pc:docMk/>
            <pc:sldMk cId="3495379934" sldId="263"/>
            <ac:spMk id="17" creationId="{F1058FFC-FA96-EB78-6C8B-94B4F11565C8}"/>
          </ac:spMkLst>
        </pc:spChg>
        <pc:spChg chg="mod">
          <ac:chgData name="Porwal, Sanchita" userId="71fd178e-3367-4ed1-8e3d-ea794edf1079" providerId="ADAL" clId="{C58FFC49-D1AF-4F92-BADF-CF9EAD4B3BCF}" dt="2023-01-20T00:44:12.190" v="3284"/>
          <ac:spMkLst>
            <pc:docMk/>
            <pc:sldMk cId="3495379934" sldId="263"/>
            <ac:spMk id="18" creationId="{5E07F676-F9B3-FE5E-4101-AC0045F97361}"/>
          </ac:spMkLst>
        </pc:spChg>
        <pc:spChg chg="add mod">
          <ac:chgData name="Porwal, Sanchita" userId="71fd178e-3367-4ed1-8e3d-ea794edf1079" providerId="ADAL" clId="{C58FFC49-D1AF-4F92-BADF-CF9EAD4B3BCF}" dt="2023-01-20T03:57:45.228" v="4687" actId="14100"/>
          <ac:spMkLst>
            <pc:docMk/>
            <pc:sldMk cId="3495379934" sldId="263"/>
            <ac:spMk id="19" creationId="{E7E6199B-3483-3982-E472-7EADA796288F}"/>
          </ac:spMkLst>
        </pc:spChg>
        <pc:spChg chg="mod">
          <ac:chgData name="Porwal, Sanchita" userId="71fd178e-3367-4ed1-8e3d-ea794edf1079" providerId="ADAL" clId="{C58FFC49-D1AF-4F92-BADF-CF9EAD4B3BCF}" dt="2023-01-20T00:44:12.190" v="3284"/>
          <ac:spMkLst>
            <pc:docMk/>
            <pc:sldMk cId="3495379934" sldId="263"/>
            <ac:spMk id="21" creationId="{309BD05D-7168-183A-70D6-1BE2787D083D}"/>
          </ac:spMkLst>
        </pc:spChg>
        <pc:spChg chg="mod">
          <ac:chgData name="Porwal, Sanchita" userId="71fd178e-3367-4ed1-8e3d-ea794edf1079" providerId="ADAL" clId="{C58FFC49-D1AF-4F92-BADF-CF9EAD4B3BCF}" dt="2023-01-20T00:44:12.190" v="3284"/>
          <ac:spMkLst>
            <pc:docMk/>
            <pc:sldMk cId="3495379934" sldId="263"/>
            <ac:spMk id="22" creationId="{8E43A823-141B-F03F-0CA7-3192A1190A0E}"/>
          </ac:spMkLst>
        </pc:spChg>
        <pc:spChg chg="mod">
          <ac:chgData name="Porwal, Sanchita" userId="71fd178e-3367-4ed1-8e3d-ea794edf1079" providerId="ADAL" clId="{C58FFC49-D1AF-4F92-BADF-CF9EAD4B3BCF}" dt="2023-01-20T00:44:12.190" v="3284"/>
          <ac:spMkLst>
            <pc:docMk/>
            <pc:sldMk cId="3495379934" sldId="263"/>
            <ac:spMk id="23" creationId="{221280BA-60BC-3CA6-53F6-C4A10476B4B7}"/>
          </ac:spMkLst>
        </pc:spChg>
        <pc:spChg chg="mod">
          <ac:chgData name="Porwal, Sanchita" userId="71fd178e-3367-4ed1-8e3d-ea794edf1079" providerId="ADAL" clId="{C58FFC49-D1AF-4F92-BADF-CF9EAD4B3BCF}" dt="2023-01-20T00:44:12.190" v="3284"/>
          <ac:spMkLst>
            <pc:docMk/>
            <pc:sldMk cId="3495379934" sldId="263"/>
            <ac:spMk id="24" creationId="{12D27D42-340A-0BE0-5A72-9E8E95398E6E}"/>
          </ac:spMkLst>
        </pc:spChg>
        <pc:spChg chg="mod">
          <ac:chgData name="Porwal, Sanchita" userId="71fd178e-3367-4ed1-8e3d-ea794edf1079" providerId="ADAL" clId="{C58FFC49-D1AF-4F92-BADF-CF9EAD4B3BCF}" dt="2023-01-20T00:44:12.190" v="3284"/>
          <ac:spMkLst>
            <pc:docMk/>
            <pc:sldMk cId="3495379934" sldId="263"/>
            <ac:spMk id="25" creationId="{BA333701-87AE-E2F6-00D7-63878D8A0C7B}"/>
          </ac:spMkLst>
        </pc:spChg>
        <pc:spChg chg="add mod">
          <ac:chgData name="Porwal, Sanchita" userId="71fd178e-3367-4ed1-8e3d-ea794edf1079" providerId="ADAL" clId="{C58FFC49-D1AF-4F92-BADF-CF9EAD4B3BCF}" dt="2023-01-20T04:08:17.546" v="4892" actId="1036"/>
          <ac:spMkLst>
            <pc:docMk/>
            <pc:sldMk cId="3495379934" sldId="263"/>
            <ac:spMk id="26" creationId="{820C0556-9E82-2D21-4543-C425F1EF3826}"/>
          </ac:spMkLst>
        </pc:spChg>
        <pc:spChg chg="add mod">
          <ac:chgData name="Porwal, Sanchita" userId="71fd178e-3367-4ed1-8e3d-ea794edf1079" providerId="ADAL" clId="{C58FFC49-D1AF-4F92-BADF-CF9EAD4B3BCF}" dt="2023-01-20T04:08:17.546" v="4892" actId="1036"/>
          <ac:spMkLst>
            <pc:docMk/>
            <pc:sldMk cId="3495379934" sldId="263"/>
            <ac:spMk id="27" creationId="{1C3FD927-D059-509A-2D2B-E0C80F1AAC2D}"/>
          </ac:spMkLst>
        </pc:spChg>
        <pc:spChg chg="add mod">
          <ac:chgData name="Porwal, Sanchita" userId="71fd178e-3367-4ed1-8e3d-ea794edf1079" providerId="ADAL" clId="{C58FFC49-D1AF-4F92-BADF-CF9EAD4B3BCF}" dt="2023-01-20T04:08:17.546" v="4892" actId="1036"/>
          <ac:spMkLst>
            <pc:docMk/>
            <pc:sldMk cId="3495379934" sldId="263"/>
            <ac:spMk id="28" creationId="{55DEE725-9FE3-D608-0A96-F30B8E8E4A59}"/>
          </ac:spMkLst>
        </pc:spChg>
        <pc:spChg chg="add mod">
          <ac:chgData name="Porwal, Sanchita" userId="71fd178e-3367-4ed1-8e3d-ea794edf1079" providerId="ADAL" clId="{C58FFC49-D1AF-4F92-BADF-CF9EAD4B3BCF}" dt="2023-01-20T04:03:28.541" v="4840" actId="14100"/>
          <ac:spMkLst>
            <pc:docMk/>
            <pc:sldMk cId="3495379934" sldId="263"/>
            <ac:spMk id="56" creationId="{3E67883C-080F-AE1F-E520-496CB951B8A4}"/>
          </ac:spMkLst>
        </pc:spChg>
        <pc:grpChg chg="add mod">
          <ac:chgData name="Porwal, Sanchita" userId="71fd178e-3367-4ed1-8e3d-ea794edf1079" providerId="ADAL" clId="{C58FFC49-D1AF-4F92-BADF-CF9EAD4B3BCF}" dt="2023-01-20T03:57:36.584" v="4686" actId="1036"/>
          <ac:grpSpMkLst>
            <pc:docMk/>
            <pc:sldMk cId="3495379934" sldId="263"/>
            <ac:grpSpMk id="9" creationId="{722AAE48-0073-AE7A-15F1-128D616F2DBB}"/>
          </ac:grpSpMkLst>
        </pc:grpChg>
        <pc:grpChg chg="add mod">
          <ac:chgData name="Porwal, Sanchita" userId="71fd178e-3367-4ed1-8e3d-ea794edf1079" providerId="ADAL" clId="{C58FFC49-D1AF-4F92-BADF-CF9EAD4B3BCF}" dt="2023-01-20T03:57:36.584" v="4686" actId="1036"/>
          <ac:grpSpMkLst>
            <pc:docMk/>
            <pc:sldMk cId="3495379934" sldId="263"/>
            <ac:grpSpMk id="14" creationId="{945CCCE9-9C60-6764-2BA9-595D92970800}"/>
          </ac:grpSpMkLst>
        </pc:grpChg>
        <pc:grpChg chg="add mod">
          <ac:chgData name="Porwal, Sanchita" userId="71fd178e-3367-4ed1-8e3d-ea794edf1079" providerId="ADAL" clId="{C58FFC49-D1AF-4F92-BADF-CF9EAD4B3BCF}" dt="2023-01-20T03:57:36.584" v="4686" actId="1036"/>
          <ac:grpSpMkLst>
            <pc:docMk/>
            <pc:sldMk cId="3495379934" sldId="263"/>
            <ac:grpSpMk id="20" creationId="{F70925E1-FD50-BF93-0003-90A699558176}"/>
          </ac:grpSpMkLst>
        </pc:grpChg>
        <pc:picChg chg="del">
          <ac:chgData name="Porwal, Sanchita" userId="71fd178e-3367-4ed1-8e3d-ea794edf1079" providerId="ADAL" clId="{C58FFC49-D1AF-4F92-BADF-CF9EAD4B3BCF}" dt="2023-01-20T04:07:47.308" v="4875" actId="478"/>
          <ac:picMkLst>
            <pc:docMk/>
            <pc:sldMk cId="3495379934" sldId="263"/>
            <ac:picMk id="4" creationId="{0E321579-DDCB-989B-5F44-2D44BC3F38C1}"/>
          </ac:picMkLst>
        </pc:picChg>
        <pc:picChg chg="add del mod">
          <ac:chgData name="Porwal, Sanchita" userId="71fd178e-3367-4ed1-8e3d-ea794edf1079" providerId="ADAL" clId="{C58FFC49-D1AF-4F92-BADF-CF9EAD4B3BCF}" dt="2023-01-20T03:34:51.602" v="4001" actId="478"/>
          <ac:picMkLst>
            <pc:docMk/>
            <pc:sldMk cId="3495379934" sldId="263"/>
            <ac:picMk id="7" creationId="{12560F13-3E93-C56D-9EFF-025A2C9D297C}"/>
          </ac:picMkLst>
        </pc:picChg>
        <pc:picChg chg="add del mod">
          <ac:chgData name="Porwal, Sanchita" userId="71fd178e-3367-4ed1-8e3d-ea794edf1079" providerId="ADAL" clId="{C58FFC49-D1AF-4F92-BADF-CF9EAD4B3BCF}" dt="2023-01-20T04:07:29.587" v="4872" actId="478"/>
          <ac:picMkLst>
            <pc:docMk/>
            <pc:sldMk cId="3495379934" sldId="263"/>
            <ac:picMk id="29" creationId="{D9BC52EB-52A4-26EA-79FE-7B138A40D751}"/>
          </ac:picMkLst>
        </pc:picChg>
        <pc:picChg chg="add del mod">
          <ac:chgData name="Porwal, Sanchita" userId="71fd178e-3367-4ed1-8e3d-ea794edf1079" providerId="ADAL" clId="{C58FFC49-D1AF-4F92-BADF-CF9EAD4B3BCF}" dt="2023-01-20T04:07:38.090" v="4874" actId="478"/>
          <ac:picMkLst>
            <pc:docMk/>
            <pc:sldMk cId="3495379934" sldId="263"/>
            <ac:picMk id="30" creationId="{8919C83F-566C-8BF8-033F-491C1D176B96}"/>
          </ac:picMkLst>
        </pc:picChg>
        <pc:picChg chg="add del mod">
          <ac:chgData name="Porwal, Sanchita" userId="71fd178e-3367-4ed1-8e3d-ea794edf1079" providerId="ADAL" clId="{C58FFC49-D1AF-4F92-BADF-CF9EAD4B3BCF}" dt="2023-01-20T04:07:17.642" v="4870" actId="478"/>
          <ac:picMkLst>
            <pc:docMk/>
            <pc:sldMk cId="3495379934" sldId="263"/>
            <ac:picMk id="31" creationId="{6AFB512E-019B-C2B4-35AB-BA5FB8844211}"/>
          </ac:picMkLst>
        </pc:picChg>
        <pc:picChg chg="add mod">
          <ac:chgData name="Porwal, Sanchita" userId="71fd178e-3367-4ed1-8e3d-ea794edf1079" providerId="ADAL" clId="{C58FFC49-D1AF-4F92-BADF-CF9EAD4B3BCF}" dt="2023-01-20T04:08:44.292" v="4925" actId="1035"/>
          <ac:picMkLst>
            <pc:docMk/>
            <pc:sldMk cId="3495379934" sldId="263"/>
            <ac:picMk id="58" creationId="{5AFE4CB0-A0BC-8DCB-77C3-132B624D4166}"/>
          </ac:picMkLst>
        </pc:picChg>
        <pc:picChg chg="add mod">
          <ac:chgData name="Porwal, Sanchita" userId="71fd178e-3367-4ed1-8e3d-ea794edf1079" providerId="ADAL" clId="{C58FFC49-D1AF-4F92-BADF-CF9EAD4B3BCF}" dt="2023-01-20T04:08:44.292" v="4925" actId="1035"/>
          <ac:picMkLst>
            <pc:docMk/>
            <pc:sldMk cId="3495379934" sldId="263"/>
            <ac:picMk id="60" creationId="{2460A9F0-4043-DD22-C729-6DD71BC4F0A8}"/>
          </ac:picMkLst>
        </pc:picChg>
        <pc:picChg chg="add mod">
          <ac:chgData name="Porwal, Sanchita" userId="71fd178e-3367-4ed1-8e3d-ea794edf1079" providerId="ADAL" clId="{C58FFC49-D1AF-4F92-BADF-CF9EAD4B3BCF}" dt="2023-01-20T04:08:44.292" v="4925" actId="1035"/>
          <ac:picMkLst>
            <pc:docMk/>
            <pc:sldMk cId="3495379934" sldId="263"/>
            <ac:picMk id="62" creationId="{D6600E77-A0DB-CB20-E728-E6610DA1AE06}"/>
          </ac:picMkLst>
        </pc:picChg>
      </pc:sldChg>
      <pc:sldChg chg="del">
        <pc:chgData name="Porwal, Sanchita" userId="71fd178e-3367-4ed1-8e3d-ea794edf1079" providerId="ADAL" clId="{C58FFC49-D1AF-4F92-BADF-CF9EAD4B3BCF}" dt="2023-01-18T22:42:20.579" v="412" actId="47"/>
        <pc:sldMkLst>
          <pc:docMk/>
          <pc:sldMk cId="3460523586" sldId="264"/>
        </pc:sldMkLst>
      </pc:sldChg>
      <pc:sldChg chg="addSp delSp modSp mod">
        <pc:chgData name="Porwal, Sanchita" userId="71fd178e-3367-4ed1-8e3d-ea794edf1079" providerId="ADAL" clId="{C58FFC49-D1AF-4F92-BADF-CF9EAD4B3BCF}" dt="2023-01-20T04:10:04.236" v="4951" actId="20577"/>
        <pc:sldMkLst>
          <pc:docMk/>
          <pc:sldMk cId="3536957954" sldId="265"/>
        </pc:sldMkLst>
        <pc:spChg chg="mod">
          <ac:chgData name="Porwal, Sanchita" userId="71fd178e-3367-4ed1-8e3d-ea794edf1079" providerId="ADAL" clId="{C58FFC49-D1AF-4F92-BADF-CF9EAD4B3BCF}" dt="2023-01-20T04:10:04.236" v="4951" actId="20577"/>
          <ac:spMkLst>
            <pc:docMk/>
            <pc:sldMk cId="3536957954" sldId="265"/>
            <ac:spMk id="2" creationId="{0FCA8915-49F5-B0A7-3E79-B63CE49D5147}"/>
          </ac:spMkLst>
        </pc:spChg>
        <pc:spChg chg="mod">
          <ac:chgData name="Porwal, Sanchita" userId="71fd178e-3367-4ed1-8e3d-ea794edf1079" providerId="ADAL" clId="{C58FFC49-D1AF-4F92-BADF-CF9EAD4B3BCF}" dt="2023-01-20T03:50:20.024" v="4430" actId="20577"/>
          <ac:spMkLst>
            <pc:docMk/>
            <pc:sldMk cId="3536957954" sldId="265"/>
            <ac:spMk id="4" creationId="{6A047E8C-A273-5F9A-E1E5-02AF9B75C7FA}"/>
          </ac:spMkLst>
        </pc:spChg>
        <pc:spChg chg="add del mod">
          <ac:chgData name="Porwal, Sanchita" userId="71fd178e-3367-4ed1-8e3d-ea794edf1079" providerId="ADAL" clId="{C58FFC49-D1AF-4F92-BADF-CF9EAD4B3BCF}" dt="2023-01-20T03:29:53.243" v="3616" actId="478"/>
          <ac:spMkLst>
            <pc:docMk/>
            <pc:sldMk cId="3536957954" sldId="265"/>
            <ac:spMk id="6" creationId="{8FC9BBD2-9279-F769-832C-18C34B8EDA4F}"/>
          </ac:spMkLst>
        </pc:spChg>
        <pc:spChg chg="mod">
          <ac:chgData name="Porwal, Sanchita" userId="71fd178e-3367-4ed1-8e3d-ea794edf1079" providerId="ADAL" clId="{C58FFC49-D1AF-4F92-BADF-CF9EAD4B3BCF}" dt="2023-01-18T22:43:30.030" v="475"/>
          <ac:spMkLst>
            <pc:docMk/>
            <pc:sldMk cId="3536957954" sldId="265"/>
            <ac:spMk id="8" creationId="{7C089DC4-CE88-E30B-6967-85C661503A14}"/>
          </ac:spMkLst>
        </pc:spChg>
        <pc:spChg chg="add mod">
          <ac:chgData name="Porwal, Sanchita" userId="71fd178e-3367-4ed1-8e3d-ea794edf1079" providerId="ADAL" clId="{C58FFC49-D1AF-4F92-BADF-CF9EAD4B3BCF}" dt="2023-01-20T03:31:44.225" v="3702" actId="14100"/>
          <ac:spMkLst>
            <pc:docMk/>
            <pc:sldMk cId="3536957954" sldId="265"/>
            <ac:spMk id="9" creationId="{4A4BCD15-1AC9-CD50-2CBF-F0964769FDC7}"/>
          </ac:spMkLst>
        </pc:spChg>
        <pc:spChg chg="add mod">
          <ac:chgData name="Porwal, Sanchita" userId="71fd178e-3367-4ed1-8e3d-ea794edf1079" providerId="ADAL" clId="{C58FFC49-D1AF-4F92-BADF-CF9EAD4B3BCF}" dt="2023-01-20T03:31:38.426" v="3701" actId="20577"/>
          <ac:spMkLst>
            <pc:docMk/>
            <pc:sldMk cId="3536957954" sldId="265"/>
            <ac:spMk id="10" creationId="{0D0DD4F2-B790-C038-1518-86691EB90D90}"/>
          </ac:spMkLst>
        </pc:spChg>
        <pc:spChg chg="mod">
          <ac:chgData name="Porwal, Sanchita" userId="71fd178e-3367-4ed1-8e3d-ea794edf1079" providerId="ADAL" clId="{C58FFC49-D1AF-4F92-BADF-CF9EAD4B3BCF}" dt="2023-01-18T22:43:30.030" v="475"/>
          <ac:spMkLst>
            <pc:docMk/>
            <pc:sldMk cId="3536957954" sldId="265"/>
            <ac:spMk id="11" creationId="{A291ACEC-C5B6-8EDF-E0E1-365D0496F868}"/>
          </ac:spMkLst>
        </pc:spChg>
        <pc:spChg chg="mod">
          <ac:chgData name="Porwal, Sanchita" userId="71fd178e-3367-4ed1-8e3d-ea794edf1079" providerId="ADAL" clId="{C58FFC49-D1AF-4F92-BADF-CF9EAD4B3BCF}" dt="2023-01-18T22:43:30.030" v="475"/>
          <ac:spMkLst>
            <pc:docMk/>
            <pc:sldMk cId="3536957954" sldId="265"/>
            <ac:spMk id="14" creationId="{EB5CDA4B-6769-13F7-7012-4B542D713EA9}"/>
          </ac:spMkLst>
        </pc:spChg>
        <pc:spChg chg="mod">
          <ac:chgData name="Porwal, Sanchita" userId="71fd178e-3367-4ed1-8e3d-ea794edf1079" providerId="ADAL" clId="{C58FFC49-D1AF-4F92-BADF-CF9EAD4B3BCF}" dt="2023-01-18T22:43:30.030" v="475"/>
          <ac:spMkLst>
            <pc:docMk/>
            <pc:sldMk cId="3536957954" sldId="265"/>
            <ac:spMk id="15" creationId="{6C5A6B4B-FFD9-91FE-4F63-DA77E69F36FC}"/>
          </ac:spMkLst>
        </pc:spChg>
        <pc:spChg chg="mod">
          <ac:chgData name="Porwal, Sanchita" userId="71fd178e-3367-4ed1-8e3d-ea794edf1079" providerId="ADAL" clId="{C58FFC49-D1AF-4F92-BADF-CF9EAD4B3BCF}" dt="2023-01-18T22:43:30.030" v="475"/>
          <ac:spMkLst>
            <pc:docMk/>
            <pc:sldMk cId="3536957954" sldId="265"/>
            <ac:spMk id="17" creationId="{DDAF3B45-9F52-7F2B-0B1A-30A32AC08947}"/>
          </ac:spMkLst>
        </pc:spChg>
        <pc:grpChg chg="add del mod">
          <ac:chgData name="Porwal, Sanchita" userId="71fd178e-3367-4ed1-8e3d-ea794edf1079" providerId="ADAL" clId="{C58FFC49-D1AF-4F92-BADF-CF9EAD4B3BCF}" dt="2023-01-18T22:43:31.531" v="476"/>
          <ac:grpSpMkLst>
            <pc:docMk/>
            <pc:sldMk cId="3536957954" sldId="265"/>
            <ac:grpSpMk id="6" creationId="{6083BE75-5F6C-4386-C1B8-3AD71EC7A7C8}"/>
          </ac:grpSpMkLst>
        </pc:grpChg>
        <pc:grpChg chg="add del mod">
          <ac:chgData name="Porwal, Sanchita" userId="71fd178e-3367-4ed1-8e3d-ea794edf1079" providerId="ADAL" clId="{C58FFC49-D1AF-4F92-BADF-CF9EAD4B3BCF}" dt="2023-01-18T22:43:31.531" v="476"/>
          <ac:grpSpMkLst>
            <pc:docMk/>
            <pc:sldMk cId="3536957954" sldId="265"/>
            <ac:grpSpMk id="9" creationId="{520F46B0-4C56-7BE9-8F35-E3F6DE5A23A7}"/>
          </ac:grpSpMkLst>
        </pc:grpChg>
        <pc:grpChg chg="add del mod">
          <ac:chgData name="Porwal, Sanchita" userId="71fd178e-3367-4ed1-8e3d-ea794edf1079" providerId="ADAL" clId="{C58FFC49-D1AF-4F92-BADF-CF9EAD4B3BCF}" dt="2023-01-18T22:43:31.531" v="476"/>
          <ac:grpSpMkLst>
            <pc:docMk/>
            <pc:sldMk cId="3536957954" sldId="265"/>
            <ac:grpSpMk id="12" creationId="{C992F9FE-4373-84B5-7D0B-853244DE35E3}"/>
          </ac:grpSpMkLst>
        </pc:grpChg>
        <pc:grpChg chg="add del mod">
          <ac:chgData name="Porwal, Sanchita" userId="71fd178e-3367-4ed1-8e3d-ea794edf1079" providerId="ADAL" clId="{C58FFC49-D1AF-4F92-BADF-CF9EAD4B3BCF}" dt="2023-01-18T22:43:31.531" v="476"/>
          <ac:grpSpMkLst>
            <pc:docMk/>
            <pc:sldMk cId="3536957954" sldId="265"/>
            <ac:grpSpMk id="16" creationId="{A2492E35-A12F-4356-A654-1CA89AFC85F0}"/>
          </ac:grpSpMkLst>
        </pc:grpChg>
        <pc:picChg chg="mod">
          <ac:chgData name="Porwal, Sanchita" userId="71fd178e-3367-4ed1-8e3d-ea794edf1079" providerId="ADAL" clId="{C58FFC49-D1AF-4F92-BADF-CF9EAD4B3BCF}" dt="2023-01-18T22:43:30.030" v="475"/>
          <ac:picMkLst>
            <pc:docMk/>
            <pc:sldMk cId="3536957954" sldId="265"/>
            <ac:picMk id="7" creationId="{6EE84F44-7D3B-5A23-E29A-20AA71AC0378}"/>
          </ac:picMkLst>
        </pc:picChg>
        <pc:picChg chg="mod">
          <ac:chgData name="Porwal, Sanchita" userId="71fd178e-3367-4ed1-8e3d-ea794edf1079" providerId="ADAL" clId="{C58FFC49-D1AF-4F92-BADF-CF9EAD4B3BCF}" dt="2023-01-18T22:43:30.030" v="475"/>
          <ac:picMkLst>
            <pc:docMk/>
            <pc:sldMk cId="3536957954" sldId="265"/>
            <ac:picMk id="10" creationId="{FBE3B446-1439-B127-B76E-BC5DE717F2B5}"/>
          </ac:picMkLst>
        </pc:picChg>
        <pc:picChg chg="mod">
          <ac:chgData name="Porwal, Sanchita" userId="71fd178e-3367-4ed1-8e3d-ea794edf1079" providerId="ADAL" clId="{C58FFC49-D1AF-4F92-BADF-CF9EAD4B3BCF}" dt="2023-01-18T22:43:30.030" v="475"/>
          <ac:picMkLst>
            <pc:docMk/>
            <pc:sldMk cId="3536957954" sldId="265"/>
            <ac:picMk id="13" creationId="{6C85EF37-812A-20E5-6F4B-E3344DB33813}"/>
          </ac:picMkLst>
        </pc:picChg>
        <pc:picChg chg="mod">
          <ac:chgData name="Porwal, Sanchita" userId="71fd178e-3367-4ed1-8e3d-ea794edf1079" providerId="ADAL" clId="{C58FFC49-D1AF-4F92-BADF-CF9EAD4B3BCF}" dt="2023-01-18T22:43:30.030" v="475"/>
          <ac:picMkLst>
            <pc:docMk/>
            <pc:sldMk cId="3536957954" sldId="265"/>
            <ac:picMk id="18" creationId="{5E2848FA-8ED9-0F6A-2A3E-2763C3BD34CA}"/>
          </ac:picMkLst>
        </pc:picChg>
      </pc:sldChg>
      <pc:sldChg chg="addSp delSp modSp new mod chgLayout">
        <pc:chgData name="Porwal, Sanchita" userId="71fd178e-3367-4ed1-8e3d-ea794edf1079" providerId="ADAL" clId="{C58FFC49-D1AF-4F92-BADF-CF9EAD4B3BCF}" dt="2023-01-18T22:50:32.637" v="587" actId="478"/>
        <pc:sldMkLst>
          <pc:docMk/>
          <pc:sldMk cId="4169713016" sldId="266"/>
        </pc:sldMkLst>
        <pc:spChg chg="del mod ord">
          <ac:chgData name="Porwal, Sanchita" userId="71fd178e-3367-4ed1-8e3d-ea794edf1079" providerId="ADAL" clId="{C58FFC49-D1AF-4F92-BADF-CF9EAD4B3BCF}" dt="2023-01-18T22:39:40.678" v="290" actId="700"/>
          <ac:spMkLst>
            <pc:docMk/>
            <pc:sldMk cId="4169713016" sldId="266"/>
            <ac:spMk id="2" creationId="{82062A20-1669-8B4E-9A99-0BD6BA5B9F85}"/>
          </ac:spMkLst>
        </pc:spChg>
        <pc:spChg chg="mod ord">
          <ac:chgData name="Porwal, Sanchita" userId="71fd178e-3367-4ed1-8e3d-ea794edf1079" providerId="ADAL" clId="{C58FFC49-D1AF-4F92-BADF-CF9EAD4B3BCF}" dt="2023-01-18T22:39:40.678" v="290" actId="700"/>
          <ac:spMkLst>
            <pc:docMk/>
            <pc:sldMk cId="4169713016" sldId="266"/>
            <ac:spMk id="3" creationId="{4B2BE48D-A259-7100-06DD-223F09EBC9A3}"/>
          </ac:spMkLst>
        </pc:spChg>
        <pc:spChg chg="add mod ord">
          <ac:chgData name="Porwal, Sanchita" userId="71fd178e-3367-4ed1-8e3d-ea794edf1079" providerId="ADAL" clId="{C58FFC49-D1AF-4F92-BADF-CF9EAD4B3BCF}" dt="2023-01-18T22:39:55.392" v="304" actId="255"/>
          <ac:spMkLst>
            <pc:docMk/>
            <pc:sldMk cId="4169713016" sldId="266"/>
            <ac:spMk id="4" creationId="{C4F6917A-8F42-36C9-97E2-763D18C31EF6}"/>
          </ac:spMkLst>
        </pc:spChg>
        <pc:spChg chg="add del mod ord">
          <ac:chgData name="Porwal, Sanchita" userId="71fd178e-3367-4ed1-8e3d-ea794edf1079" providerId="ADAL" clId="{C58FFC49-D1AF-4F92-BADF-CF9EAD4B3BCF}" dt="2023-01-18T22:40:05.343" v="305" actId="478"/>
          <ac:spMkLst>
            <pc:docMk/>
            <pc:sldMk cId="4169713016" sldId="266"/>
            <ac:spMk id="5" creationId="{7AF37EB1-B3D1-3428-DE67-9C9E51AB52B7}"/>
          </ac:spMkLst>
        </pc:spChg>
        <pc:spChg chg="mod topLvl">
          <ac:chgData name="Porwal, Sanchita" userId="71fd178e-3367-4ed1-8e3d-ea794edf1079" providerId="ADAL" clId="{C58FFC49-D1AF-4F92-BADF-CF9EAD4B3BCF}" dt="2023-01-18T22:40:28.067" v="320" actId="20577"/>
          <ac:spMkLst>
            <pc:docMk/>
            <pc:sldMk cId="4169713016" sldId="266"/>
            <ac:spMk id="8" creationId="{F70C083F-718D-5C5E-0F8B-BE289C18E682}"/>
          </ac:spMkLst>
        </pc:spChg>
        <pc:spChg chg="mod">
          <ac:chgData name="Porwal, Sanchita" userId="71fd178e-3367-4ed1-8e3d-ea794edf1079" providerId="ADAL" clId="{C58FFC49-D1AF-4F92-BADF-CF9EAD4B3BCF}" dt="2023-01-18T22:40:06.785" v="306"/>
          <ac:spMkLst>
            <pc:docMk/>
            <pc:sldMk cId="4169713016" sldId="266"/>
            <ac:spMk id="11" creationId="{0535BB16-758D-FBF3-35CB-4236AA69AB23}"/>
          </ac:spMkLst>
        </pc:spChg>
        <pc:spChg chg="mod">
          <ac:chgData name="Porwal, Sanchita" userId="71fd178e-3367-4ed1-8e3d-ea794edf1079" providerId="ADAL" clId="{C58FFC49-D1AF-4F92-BADF-CF9EAD4B3BCF}" dt="2023-01-18T22:40:06.785" v="306"/>
          <ac:spMkLst>
            <pc:docMk/>
            <pc:sldMk cId="4169713016" sldId="266"/>
            <ac:spMk id="14" creationId="{95931C8C-F4A0-88F6-F848-8408FC009DA9}"/>
          </ac:spMkLst>
        </pc:spChg>
        <pc:spChg chg="mod">
          <ac:chgData name="Porwal, Sanchita" userId="71fd178e-3367-4ed1-8e3d-ea794edf1079" providerId="ADAL" clId="{C58FFC49-D1AF-4F92-BADF-CF9EAD4B3BCF}" dt="2023-01-18T22:40:06.785" v="306"/>
          <ac:spMkLst>
            <pc:docMk/>
            <pc:sldMk cId="4169713016" sldId="266"/>
            <ac:spMk id="15" creationId="{2D13A9D4-2BBB-AF82-8223-BA752F63CE8C}"/>
          </ac:spMkLst>
        </pc:spChg>
        <pc:spChg chg="mod topLvl">
          <ac:chgData name="Porwal, Sanchita" userId="71fd178e-3367-4ed1-8e3d-ea794edf1079" providerId="ADAL" clId="{C58FFC49-D1AF-4F92-BADF-CF9EAD4B3BCF}" dt="2023-01-18T22:40:35.576" v="333" actId="20577"/>
          <ac:spMkLst>
            <pc:docMk/>
            <pc:sldMk cId="4169713016" sldId="266"/>
            <ac:spMk id="17" creationId="{DC0224DB-6F52-D419-7784-9CC617F8D0E3}"/>
          </ac:spMkLst>
        </pc:spChg>
        <pc:grpChg chg="add del mod">
          <ac:chgData name="Porwal, Sanchita" userId="71fd178e-3367-4ed1-8e3d-ea794edf1079" providerId="ADAL" clId="{C58FFC49-D1AF-4F92-BADF-CF9EAD4B3BCF}" dt="2023-01-18T22:40:19.079" v="308" actId="165"/>
          <ac:grpSpMkLst>
            <pc:docMk/>
            <pc:sldMk cId="4169713016" sldId="266"/>
            <ac:grpSpMk id="6" creationId="{25C19558-FF4D-945A-9B56-4E4E1036FE1F}"/>
          </ac:grpSpMkLst>
        </pc:grpChg>
        <pc:grpChg chg="add mod">
          <ac:chgData name="Porwal, Sanchita" userId="71fd178e-3367-4ed1-8e3d-ea794edf1079" providerId="ADAL" clId="{C58FFC49-D1AF-4F92-BADF-CF9EAD4B3BCF}" dt="2023-01-18T22:40:08.967" v="307" actId="1076"/>
          <ac:grpSpMkLst>
            <pc:docMk/>
            <pc:sldMk cId="4169713016" sldId="266"/>
            <ac:grpSpMk id="9" creationId="{10A7CAED-650C-4F58-713D-95DF3B469EA7}"/>
          </ac:grpSpMkLst>
        </pc:grpChg>
        <pc:grpChg chg="add mod">
          <ac:chgData name="Porwal, Sanchita" userId="71fd178e-3367-4ed1-8e3d-ea794edf1079" providerId="ADAL" clId="{C58FFC49-D1AF-4F92-BADF-CF9EAD4B3BCF}" dt="2023-01-18T22:40:08.967" v="307" actId="1076"/>
          <ac:grpSpMkLst>
            <pc:docMk/>
            <pc:sldMk cId="4169713016" sldId="266"/>
            <ac:grpSpMk id="12" creationId="{C0811CBB-55AB-05CC-CF7B-6BEBF8DFF0B5}"/>
          </ac:grpSpMkLst>
        </pc:grpChg>
        <pc:grpChg chg="add del mod">
          <ac:chgData name="Porwal, Sanchita" userId="71fd178e-3367-4ed1-8e3d-ea794edf1079" providerId="ADAL" clId="{C58FFC49-D1AF-4F92-BADF-CF9EAD4B3BCF}" dt="2023-01-18T22:40:19.079" v="308" actId="165"/>
          <ac:grpSpMkLst>
            <pc:docMk/>
            <pc:sldMk cId="4169713016" sldId="266"/>
            <ac:grpSpMk id="16" creationId="{CB246E03-15D1-C690-ADC2-CE9672EC05A0}"/>
          </ac:grpSpMkLst>
        </pc:grpChg>
        <pc:picChg chg="del mod topLvl">
          <ac:chgData name="Porwal, Sanchita" userId="71fd178e-3367-4ed1-8e3d-ea794edf1079" providerId="ADAL" clId="{C58FFC49-D1AF-4F92-BADF-CF9EAD4B3BCF}" dt="2023-01-18T22:40:22.921" v="309" actId="478"/>
          <ac:picMkLst>
            <pc:docMk/>
            <pc:sldMk cId="4169713016" sldId="266"/>
            <ac:picMk id="7" creationId="{8AF94280-39E2-D1BF-B1FD-19C7674A342F}"/>
          </ac:picMkLst>
        </pc:picChg>
        <pc:picChg chg="mod">
          <ac:chgData name="Porwal, Sanchita" userId="71fd178e-3367-4ed1-8e3d-ea794edf1079" providerId="ADAL" clId="{C58FFC49-D1AF-4F92-BADF-CF9EAD4B3BCF}" dt="2023-01-18T22:40:06.785" v="306"/>
          <ac:picMkLst>
            <pc:docMk/>
            <pc:sldMk cId="4169713016" sldId="266"/>
            <ac:picMk id="10" creationId="{7A1D245C-3FD7-61FB-FAAB-8A9E5F2F1F34}"/>
          </ac:picMkLst>
        </pc:picChg>
        <pc:picChg chg="mod">
          <ac:chgData name="Porwal, Sanchita" userId="71fd178e-3367-4ed1-8e3d-ea794edf1079" providerId="ADAL" clId="{C58FFC49-D1AF-4F92-BADF-CF9EAD4B3BCF}" dt="2023-01-18T22:40:06.785" v="306"/>
          <ac:picMkLst>
            <pc:docMk/>
            <pc:sldMk cId="4169713016" sldId="266"/>
            <ac:picMk id="13" creationId="{2483F2DF-5EEE-43BE-8B35-F392485E0435}"/>
          </ac:picMkLst>
        </pc:picChg>
        <pc:picChg chg="del mod topLvl">
          <ac:chgData name="Porwal, Sanchita" userId="71fd178e-3367-4ed1-8e3d-ea794edf1079" providerId="ADAL" clId="{C58FFC49-D1AF-4F92-BADF-CF9EAD4B3BCF}" dt="2023-01-18T22:50:32.637" v="587" actId="478"/>
          <ac:picMkLst>
            <pc:docMk/>
            <pc:sldMk cId="4169713016" sldId="266"/>
            <ac:picMk id="18" creationId="{BCBBBD6C-B448-8F1C-14D6-0256D2F50EF3}"/>
          </ac:picMkLst>
        </pc:picChg>
      </pc:sldChg>
      <pc:sldChg chg="addSp modSp new mod">
        <pc:chgData name="Porwal, Sanchita" userId="71fd178e-3367-4ed1-8e3d-ea794edf1079" providerId="ADAL" clId="{C58FFC49-D1AF-4F92-BADF-CF9EAD4B3BCF}" dt="2023-01-20T04:12:21.131" v="5139" actId="1076"/>
        <pc:sldMkLst>
          <pc:docMk/>
          <pc:sldMk cId="2795900345" sldId="267"/>
        </pc:sldMkLst>
        <pc:spChg chg="mod">
          <ac:chgData name="Porwal, Sanchita" userId="71fd178e-3367-4ed1-8e3d-ea794edf1079" providerId="ADAL" clId="{C58FFC49-D1AF-4F92-BADF-CF9EAD4B3BCF}" dt="2023-01-18T22:41:26.087" v="391" actId="20577"/>
          <ac:spMkLst>
            <pc:docMk/>
            <pc:sldMk cId="2795900345" sldId="267"/>
            <ac:spMk id="2" creationId="{6AE18DC0-41BE-329C-5072-789A85A7185B}"/>
          </ac:spMkLst>
        </pc:spChg>
        <pc:spChg chg="add mod">
          <ac:chgData name="Porwal, Sanchita" userId="71fd178e-3367-4ed1-8e3d-ea794edf1079" providerId="ADAL" clId="{C58FFC49-D1AF-4F92-BADF-CF9EAD4B3BCF}" dt="2023-01-20T04:12:21.131" v="5139" actId="1076"/>
          <ac:spMkLst>
            <pc:docMk/>
            <pc:sldMk cId="2795900345" sldId="267"/>
            <ac:spMk id="5" creationId="{B4DAB637-7EB1-4896-71E4-02C9FB1111F1}"/>
          </ac:spMkLst>
        </pc:spChg>
        <pc:spChg chg="mod">
          <ac:chgData name="Porwal, Sanchita" userId="71fd178e-3367-4ed1-8e3d-ea794edf1079" providerId="ADAL" clId="{C58FFC49-D1AF-4F92-BADF-CF9EAD4B3BCF}" dt="2023-01-20T04:10:17.770" v="4977" actId="1036"/>
          <ac:spMkLst>
            <pc:docMk/>
            <pc:sldMk cId="2795900345" sldId="267"/>
            <ac:spMk id="22" creationId="{784B6F1B-0CC9-3687-117E-31CC8CBC2360}"/>
          </ac:spMkLst>
        </pc:spChg>
        <pc:spChg chg="mod">
          <ac:chgData name="Porwal, Sanchita" userId="71fd178e-3367-4ed1-8e3d-ea794edf1079" providerId="ADAL" clId="{C58FFC49-D1AF-4F92-BADF-CF9EAD4B3BCF}" dt="2023-01-20T04:10:17.770" v="4977" actId="1036"/>
          <ac:spMkLst>
            <pc:docMk/>
            <pc:sldMk cId="2795900345" sldId="267"/>
            <ac:spMk id="23" creationId="{493C9E3F-85F1-7B7A-61C4-8E00FB7A59FE}"/>
          </ac:spMkLst>
        </pc:spChg>
        <pc:picChg chg="mod">
          <ac:chgData name="Porwal, Sanchita" userId="71fd178e-3367-4ed1-8e3d-ea794edf1079" providerId="ADAL" clId="{C58FFC49-D1AF-4F92-BADF-CF9EAD4B3BCF}" dt="2023-01-20T04:10:17.770" v="4977" actId="1036"/>
          <ac:picMkLst>
            <pc:docMk/>
            <pc:sldMk cId="2795900345" sldId="267"/>
            <ac:picMk id="7" creationId="{7BA6D83A-5BEC-E7D1-CEB0-7B3DE6B4B06D}"/>
          </ac:picMkLst>
        </pc:picChg>
        <pc:picChg chg="mod">
          <ac:chgData name="Porwal, Sanchita" userId="71fd178e-3367-4ed1-8e3d-ea794edf1079" providerId="ADAL" clId="{C58FFC49-D1AF-4F92-BADF-CF9EAD4B3BCF}" dt="2023-01-20T04:10:17.770" v="4977" actId="1036"/>
          <ac:picMkLst>
            <pc:docMk/>
            <pc:sldMk cId="2795900345" sldId="267"/>
            <ac:picMk id="8" creationId="{EDBF5836-9621-DBF7-B586-AAA61AFC15F3}"/>
          </ac:picMkLst>
        </pc:picChg>
        <pc:picChg chg="mod">
          <ac:chgData name="Porwal, Sanchita" userId="71fd178e-3367-4ed1-8e3d-ea794edf1079" providerId="ADAL" clId="{C58FFC49-D1AF-4F92-BADF-CF9EAD4B3BCF}" dt="2023-01-20T04:10:17.770" v="4977" actId="1036"/>
          <ac:picMkLst>
            <pc:docMk/>
            <pc:sldMk cId="2795900345" sldId="267"/>
            <ac:picMk id="9" creationId="{888B47C1-4199-0FF5-0711-B508DDF6C4FE}"/>
          </ac:picMkLst>
        </pc:picChg>
        <pc:picChg chg="mod">
          <ac:chgData name="Porwal, Sanchita" userId="71fd178e-3367-4ed1-8e3d-ea794edf1079" providerId="ADAL" clId="{C58FFC49-D1AF-4F92-BADF-CF9EAD4B3BCF}" dt="2023-01-20T04:10:17.770" v="4977" actId="1036"/>
          <ac:picMkLst>
            <pc:docMk/>
            <pc:sldMk cId="2795900345" sldId="267"/>
            <ac:picMk id="12" creationId="{745480A2-FCEF-7275-F84E-8B64BCEBCD3F}"/>
          </ac:picMkLst>
        </pc:picChg>
        <pc:cxnChg chg="mod">
          <ac:chgData name="Porwal, Sanchita" userId="71fd178e-3367-4ed1-8e3d-ea794edf1079" providerId="ADAL" clId="{C58FFC49-D1AF-4F92-BADF-CF9EAD4B3BCF}" dt="2023-01-20T04:10:17.770" v="4977" actId="1036"/>
          <ac:cxnSpMkLst>
            <pc:docMk/>
            <pc:sldMk cId="2795900345" sldId="267"/>
            <ac:cxnSpMk id="17" creationId="{7F685F03-DA7C-886B-EC91-E5C48943359E}"/>
          </ac:cxnSpMkLst>
        </pc:cxnChg>
      </pc:sldChg>
      <pc:sldChg chg="addSp delSp modSp add mod">
        <pc:chgData name="Porwal, Sanchita" userId="71fd178e-3367-4ed1-8e3d-ea794edf1079" providerId="ADAL" clId="{C58FFC49-D1AF-4F92-BADF-CF9EAD4B3BCF}" dt="2023-01-20T04:33:18.121" v="5394" actId="20577"/>
        <pc:sldMkLst>
          <pc:docMk/>
          <pc:sldMk cId="3205980196" sldId="268"/>
        </pc:sldMkLst>
        <pc:spChg chg="mod">
          <ac:chgData name="Porwal, Sanchita" userId="71fd178e-3367-4ed1-8e3d-ea794edf1079" providerId="ADAL" clId="{C58FFC49-D1AF-4F92-BADF-CF9EAD4B3BCF}" dt="2023-01-19T19:34:46.155" v="2565" actId="20577"/>
          <ac:spMkLst>
            <pc:docMk/>
            <pc:sldMk cId="3205980196" sldId="268"/>
            <ac:spMk id="2" creationId="{0FCA8915-49F5-B0A7-3E79-B63CE49D5147}"/>
          </ac:spMkLst>
        </pc:spChg>
        <pc:spChg chg="del">
          <ac:chgData name="Porwal, Sanchita" userId="71fd178e-3367-4ed1-8e3d-ea794edf1079" providerId="ADAL" clId="{C58FFC49-D1AF-4F92-BADF-CF9EAD4B3BCF}" dt="2023-01-18T22:44:10.246" v="510" actId="478"/>
          <ac:spMkLst>
            <pc:docMk/>
            <pc:sldMk cId="3205980196" sldId="268"/>
            <ac:spMk id="4" creationId="{6A047E8C-A273-5F9A-E1E5-02AF9B75C7FA}"/>
          </ac:spMkLst>
        </pc:spChg>
        <pc:spChg chg="add mod">
          <ac:chgData name="Porwal, Sanchita" userId="71fd178e-3367-4ed1-8e3d-ea794edf1079" providerId="ADAL" clId="{C58FFC49-D1AF-4F92-BADF-CF9EAD4B3BCF}" dt="2023-01-19T19:39:44.072" v="3085" actId="14"/>
          <ac:spMkLst>
            <pc:docMk/>
            <pc:sldMk cId="3205980196" sldId="268"/>
            <ac:spMk id="4" creationId="{844A053E-9011-0832-6F33-78B7FF44C484}"/>
          </ac:spMkLst>
        </pc:spChg>
        <pc:spChg chg="add mod">
          <ac:chgData name="Porwal, Sanchita" userId="71fd178e-3367-4ed1-8e3d-ea794edf1079" providerId="ADAL" clId="{C58FFC49-D1AF-4F92-BADF-CF9EAD4B3BCF}" dt="2023-01-20T04:33:18.121" v="5394" actId="20577"/>
          <ac:spMkLst>
            <pc:docMk/>
            <pc:sldMk cId="3205980196" sldId="268"/>
            <ac:spMk id="6" creationId="{1381CC33-AC0E-E872-6009-D1145E7F5860}"/>
          </ac:spMkLst>
        </pc:spChg>
        <pc:spChg chg="mod">
          <ac:chgData name="Porwal, Sanchita" userId="71fd178e-3367-4ed1-8e3d-ea794edf1079" providerId="ADAL" clId="{C58FFC49-D1AF-4F92-BADF-CF9EAD4B3BCF}" dt="2023-01-18T22:47:17.583" v="583" actId="20577"/>
          <ac:spMkLst>
            <pc:docMk/>
            <pc:sldMk cId="3205980196" sldId="268"/>
            <ac:spMk id="9" creationId="{B16F16B9-761B-F307-D634-A4EAA8F3060C}"/>
          </ac:spMkLst>
        </pc:spChg>
        <pc:spChg chg="add mod">
          <ac:chgData name="Porwal, Sanchita" userId="71fd178e-3367-4ed1-8e3d-ea794edf1079" providerId="ADAL" clId="{C58FFC49-D1AF-4F92-BADF-CF9EAD4B3BCF}" dt="2023-01-19T00:19:17.345" v="2286" actId="14100"/>
          <ac:spMkLst>
            <pc:docMk/>
            <pc:sldMk cId="3205980196" sldId="268"/>
            <ac:spMk id="10" creationId="{4DBA6675-BDA7-9AFB-0030-134699EAB71E}"/>
          </ac:spMkLst>
        </pc:spChg>
        <pc:spChg chg="mod">
          <ac:chgData name="Porwal, Sanchita" userId="71fd178e-3367-4ed1-8e3d-ea794edf1079" providerId="ADAL" clId="{C58FFC49-D1AF-4F92-BADF-CF9EAD4B3BCF}" dt="2023-01-18T22:44:16.433" v="512" actId="1076"/>
          <ac:spMkLst>
            <pc:docMk/>
            <pc:sldMk cId="3205980196" sldId="268"/>
            <ac:spMk id="13" creationId="{023A9A77-F867-5A12-08B4-653D02ADA129}"/>
          </ac:spMkLst>
        </pc:spChg>
        <pc:spChg chg="add mod">
          <ac:chgData name="Porwal, Sanchita" userId="71fd178e-3367-4ed1-8e3d-ea794edf1079" providerId="ADAL" clId="{C58FFC49-D1AF-4F92-BADF-CF9EAD4B3BCF}" dt="2023-01-20T04:27:30.420" v="5389" actId="20577"/>
          <ac:spMkLst>
            <pc:docMk/>
            <pc:sldMk cId="3205980196" sldId="268"/>
            <ac:spMk id="14" creationId="{B29C6593-7EBE-4367-EEA7-EC6BB46FA621}"/>
          </ac:spMkLst>
        </pc:spChg>
        <pc:spChg chg="mod">
          <ac:chgData name="Porwal, Sanchita" userId="71fd178e-3367-4ed1-8e3d-ea794edf1079" providerId="ADAL" clId="{C58FFC49-D1AF-4F92-BADF-CF9EAD4B3BCF}" dt="2023-01-18T22:44:16.433" v="512" actId="1076"/>
          <ac:spMkLst>
            <pc:docMk/>
            <pc:sldMk cId="3205980196" sldId="268"/>
            <ac:spMk id="17" creationId="{0DEB3184-65C2-1D25-20FA-0D98F7D21E55}"/>
          </ac:spMkLst>
        </pc:spChg>
        <pc:spChg chg="mod">
          <ac:chgData name="Porwal, Sanchita" userId="71fd178e-3367-4ed1-8e3d-ea794edf1079" providerId="ADAL" clId="{C58FFC49-D1AF-4F92-BADF-CF9EAD4B3BCF}" dt="2023-01-18T22:44:16.433" v="512" actId="1076"/>
          <ac:spMkLst>
            <pc:docMk/>
            <pc:sldMk cId="3205980196" sldId="268"/>
            <ac:spMk id="21" creationId="{215AD125-D19C-EB28-11E7-C7E462187145}"/>
          </ac:spMkLst>
        </pc:spChg>
        <pc:spChg chg="mod">
          <ac:chgData name="Porwal, Sanchita" userId="71fd178e-3367-4ed1-8e3d-ea794edf1079" providerId="ADAL" clId="{C58FFC49-D1AF-4F92-BADF-CF9EAD4B3BCF}" dt="2023-01-18T22:44:16.433" v="512" actId="1076"/>
          <ac:spMkLst>
            <pc:docMk/>
            <pc:sldMk cId="3205980196" sldId="268"/>
            <ac:spMk id="23" creationId="{6CD83CDE-13CF-2DC7-35EA-F882007AD056}"/>
          </ac:spMkLst>
        </pc:spChg>
        <pc:spChg chg="mod">
          <ac:chgData name="Porwal, Sanchita" userId="71fd178e-3367-4ed1-8e3d-ea794edf1079" providerId="ADAL" clId="{C58FFC49-D1AF-4F92-BADF-CF9EAD4B3BCF}" dt="2023-01-18T22:44:16.433" v="512" actId="1076"/>
          <ac:spMkLst>
            <pc:docMk/>
            <pc:sldMk cId="3205980196" sldId="268"/>
            <ac:spMk id="24" creationId="{37338FA3-0FC7-5641-D303-74DA2D397DE5}"/>
          </ac:spMkLst>
        </pc:spChg>
        <pc:spChg chg="mod">
          <ac:chgData name="Porwal, Sanchita" userId="71fd178e-3367-4ed1-8e3d-ea794edf1079" providerId="ADAL" clId="{C58FFC49-D1AF-4F92-BADF-CF9EAD4B3BCF}" dt="2023-01-18T22:44:16.433" v="512" actId="1076"/>
          <ac:spMkLst>
            <pc:docMk/>
            <pc:sldMk cId="3205980196" sldId="268"/>
            <ac:spMk id="28" creationId="{215FC472-8814-2A82-D247-93A9BF9EAFCB}"/>
          </ac:spMkLst>
        </pc:spChg>
        <pc:spChg chg="mod">
          <ac:chgData name="Porwal, Sanchita" userId="71fd178e-3367-4ed1-8e3d-ea794edf1079" providerId="ADAL" clId="{C58FFC49-D1AF-4F92-BADF-CF9EAD4B3BCF}" dt="2023-01-18T22:44:16.433" v="512" actId="1076"/>
          <ac:spMkLst>
            <pc:docMk/>
            <pc:sldMk cId="3205980196" sldId="268"/>
            <ac:spMk id="30" creationId="{2671AA52-3333-E40B-1732-7CBD9CE1C1D9}"/>
          </ac:spMkLst>
        </pc:spChg>
        <pc:spChg chg="mod">
          <ac:chgData name="Porwal, Sanchita" userId="71fd178e-3367-4ed1-8e3d-ea794edf1079" providerId="ADAL" clId="{C58FFC49-D1AF-4F92-BADF-CF9EAD4B3BCF}" dt="2023-01-18T22:44:16.433" v="512" actId="1076"/>
          <ac:spMkLst>
            <pc:docMk/>
            <pc:sldMk cId="3205980196" sldId="268"/>
            <ac:spMk id="31" creationId="{1A71FF59-DAD2-AA2C-9CF3-435063521F78}"/>
          </ac:spMkLst>
        </pc:spChg>
        <pc:grpChg chg="add mod">
          <ac:chgData name="Porwal, Sanchita" userId="71fd178e-3367-4ed1-8e3d-ea794edf1079" providerId="ADAL" clId="{C58FFC49-D1AF-4F92-BADF-CF9EAD4B3BCF}" dt="2023-01-18T22:44:16.433" v="512" actId="1076"/>
          <ac:grpSpMkLst>
            <pc:docMk/>
            <pc:sldMk cId="3205980196" sldId="268"/>
            <ac:grpSpMk id="7" creationId="{D2D78F11-5A7B-705E-EA56-09F6E1FDF572}"/>
          </ac:grpSpMkLst>
        </pc:grpChg>
        <pc:grpChg chg="add mod">
          <ac:chgData name="Porwal, Sanchita" userId="71fd178e-3367-4ed1-8e3d-ea794edf1079" providerId="ADAL" clId="{C58FFC49-D1AF-4F92-BADF-CF9EAD4B3BCF}" dt="2023-01-18T22:44:16.433" v="512" actId="1076"/>
          <ac:grpSpMkLst>
            <pc:docMk/>
            <pc:sldMk cId="3205980196" sldId="268"/>
            <ac:grpSpMk id="11" creationId="{4B17B53E-41CF-3105-EB5F-9E41D3736E91}"/>
          </ac:grpSpMkLst>
        </pc:grpChg>
        <pc:grpChg chg="add mod">
          <ac:chgData name="Porwal, Sanchita" userId="71fd178e-3367-4ed1-8e3d-ea794edf1079" providerId="ADAL" clId="{C58FFC49-D1AF-4F92-BADF-CF9EAD4B3BCF}" dt="2023-01-18T22:44:16.433" v="512" actId="1076"/>
          <ac:grpSpMkLst>
            <pc:docMk/>
            <pc:sldMk cId="3205980196" sldId="268"/>
            <ac:grpSpMk id="15" creationId="{D637C13F-C229-BDB8-A05B-8D5F3174FF22}"/>
          </ac:grpSpMkLst>
        </pc:grpChg>
        <pc:grpChg chg="add mod">
          <ac:chgData name="Porwal, Sanchita" userId="71fd178e-3367-4ed1-8e3d-ea794edf1079" providerId="ADAL" clId="{C58FFC49-D1AF-4F92-BADF-CF9EAD4B3BCF}" dt="2023-01-18T22:44:16.433" v="512" actId="1076"/>
          <ac:grpSpMkLst>
            <pc:docMk/>
            <pc:sldMk cId="3205980196" sldId="268"/>
            <ac:grpSpMk id="18" creationId="{9B62862F-764A-2B8F-91A9-442694DEE6D7}"/>
          </ac:grpSpMkLst>
        </pc:grpChg>
        <pc:grpChg chg="mod">
          <ac:chgData name="Porwal, Sanchita" userId="71fd178e-3367-4ed1-8e3d-ea794edf1079" providerId="ADAL" clId="{C58FFC49-D1AF-4F92-BADF-CF9EAD4B3BCF}" dt="2023-01-18T22:44:16.433" v="512" actId="1076"/>
          <ac:grpSpMkLst>
            <pc:docMk/>
            <pc:sldMk cId="3205980196" sldId="268"/>
            <ac:grpSpMk id="20" creationId="{6866D075-61CA-8EEE-3B4B-46EB4306FAAC}"/>
          </ac:grpSpMkLst>
        </pc:grpChg>
        <pc:grpChg chg="mod">
          <ac:chgData name="Porwal, Sanchita" userId="71fd178e-3367-4ed1-8e3d-ea794edf1079" providerId="ADAL" clId="{C58FFC49-D1AF-4F92-BADF-CF9EAD4B3BCF}" dt="2023-01-18T22:44:16.433" v="512" actId="1076"/>
          <ac:grpSpMkLst>
            <pc:docMk/>
            <pc:sldMk cId="3205980196" sldId="268"/>
            <ac:grpSpMk id="22" creationId="{9F4B468C-E1DD-590C-0818-AE90CFAE465B}"/>
          </ac:grpSpMkLst>
        </pc:grpChg>
        <pc:grpChg chg="add mod">
          <ac:chgData name="Porwal, Sanchita" userId="71fd178e-3367-4ed1-8e3d-ea794edf1079" providerId="ADAL" clId="{C58FFC49-D1AF-4F92-BADF-CF9EAD4B3BCF}" dt="2023-01-18T22:44:16.433" v="512" actId="1076"/>
          <ac:grpSpMkLst>
            <pc:docMk/>
            <pc:sldMk cId="3205980196" sldId="268"/>
            <ac:grpSpMk id="25" creationId="{FC877F52-FB13-9693-22EE-DBE7662AB308}"/>
          </ac:grpSpMkLst>
        </pc:grpChg>
        <pc:grpChg chg="mod">
          <ac:chgData name="Porwal, Sanchita" userId="71fd178e-3367-4ed1-8e3d-ea794edf1079" providerId="ADAL" clId="{C58FFC49-D1AF-4F92-BADF-CF9EAD4B3BCF}" dt="2023-01-18T22:44:16.433" v="512" actId="1076"/>
          <ac:grpSpMkLst>
            <pc:docMk/>
            <pc:sldMk cId="3205980196" sldId="268"/>
            <ac:grpSpMk id="27" creationId="{8F38604B-8998-2C4D-7B87-F3CC2C5EE132}"/>
          </ac:grpSpMkLst>
        </pc:grpChg>
        <pc:grpChg chg="mod">
          <ac:chgData name="Porwal, Sanchita" userId="71fd178e-3367-4ed1-8e3d-ea794edf1079" providerId="ADAL" clId="{C58FFC49-D1AF-4F92-BADF-CF9EAD4B3BCF}" dt="2023-01-18T22:44:16.433" v="512" actId="1076"/>
          <ac:grpSpMkLst>
            <pc:docMk/>
            <pc:sldMk cId="3205980196" sldId="268"/>
            <ac:grpSpMk id="29" creationId="{B5825938-9157-50F8-12B7-91E849C48626}"/>
          </ac:grpSpMkLst>
        </pc:grpChg>
        <pc:picChg chg="add del mod">
          <ac:chgData name="Porwal, Sanchita" userId="71fd178e-3367-4ed1-8e3d-ea794edf1079" providerId="ADAL" clId="{C58FFC49-D1AF-4F92-BADF-CF9EAD4B3BCF}" dt="2023-01-18T22:54:20.055" v="594" actId="478"/>
          <ac:picMkLst>
            <pc:docMk/>
            <pc:sldMk cId="3205980196" sldId="268"/>
            <ac:picMk id="32" creationId="{F201361D-4561-2C9D-2280-FE7888BF68E2}"/>
          </ac:picMkLst>
        </pc:picChg>
        <pc:picChg chg="add mod">
          <ac:chgData name="Porwal, Sanchita" userId="71fd178e-3367-4ed1-8e3d-ea794edf1079" providerId="ADAL" clId="{C58FFC49-D1AF-4F92-BADF-CF9EAD4B3BCF}" dt="2023-01-18T22:54:17.032" v="593"/>
          <ac:picMkLst>
            <pc:docMk/>
            <pc:sldMk cId="3205980196" sldId="268"/>
            <ac:picMk id="33" creationId="{45D385A0-8C63-DDE2-76E0-F985673983E8}"/>
          </ac:picMkLst>
        </pc:picChg>
        <pc:picChg chg="add del mod">
          <ac:chgData name="Porwal, Sanchita" userId="71fd178e-3367-4ed1-8e3d-ea794edf1079" providerId="ADAL" clId="{C58FFC49-D1AF-4F92-BADF-CF9EAD4B3BCF}" dt="2023-01-18T22:53:52.430" v="588" actId="478"/>
          <ac:picMkLst>
            <pc:docMk/>
            <pc:sldMk cId="3205980196" sldId="268"/>
            <ac:picMk id="34" creationId="{349501A2-CBCB-93CA-2E2A-95A813ABDA7B}"/>
          </ac:picMkLst>
        </pc:picChg>
        <pc:picChg chg="add mod">
          <ac:chgData name="Porwal, Sanchita" userId="71fd178e-3367-4ed1-8e3d-ea794edf1079" providerId="ADAL" clId="{C58FFC49-D1AF-4F92-BADF-CF9EAD4B3BCF}" dt="2023-01-18T22:54:05.197" v="591" actId="27349"/>
          <ac:picMkLst>
            <pc:docMk/>
            <pc:sldMk cId="3205980196" sldId="268"/>
            <ac:picMk id="35" creationId="{2004F13B-1E1D-7A92-E6B0-77FA1D2D0DC3}"/>
          </ac:picMkLst>
        </pc:picChg>
        <pc:cxnChg chg="mod">
          <ac:chgData name="Porwal, Sanchita" userId="71fd178e-3367-4ed1-8e3d-ea794edf1079" providerId="ADAL" clId="{C58FFC49-D1AF-4F92-BADF-CF9EAD4B3BCF}" dt="2023-01-18T22:44:16.433" v="512" actId="1076"/>
          <ac:cxnSpMkLst>
            <pc:docMk/>
            <pc:sldMk cId="3205980196" sldId="268"/>
            <ac:cxnSpMk id="8" creationId="{18BAC8F0-79D3-6A98-0C69-7AD0F1028D43}"/>
          </ac:cxnSpMkLst>
        </pc:cxnChg>
        <pc:cxnChg chg="mod">
          <ac:chgData name="Porwal, Sanchita" userId="71fd178e-3367-4ed1-8e3d-ea794edf1079" providerId="ADAL" clId="{C58FFC49-D1AF-4F92-BADF-CF9EAD4B3BCF}" dt="2023-01-18T22:44:16.433" v="512" actId="1076"/>
          <ac:cxnSpMkLst>
            <pc:docMk/>
            <pc:sldMk cId="3205980196" sldId="268"/>
            <ac:cxnSpMk id="12" creationId="{EA360E11-5FC0-9E9F-2907-F8BF2B458E32}"/>
          </ac:cxnSpMkLst>
        </pc:cxnChg>
        <pc:cxnChg chg="mod">
          <ac:chgData name="Porwal, Sanchita" userId="71fd178e-3367-4ed1-8e3d-ea794edf1079" providerId="ADAL" clId="{C58FFC49-D1AF-4F92-BADF-CF9EAD4B3BCF}" dt="2023-01-18T22:44:16.433" v="512" actId="1076"/>
          <ac:cxnSpMkLst>
            <pc:docMk/>
            <pc:sldMk cId="3205980196" sldId="268"/>
            <ac:cxnSpMk id="16" creationId="{67255774-09CC-8515-03A2-9DD1174400B4}"/>
          </ac:cxnSpMkLst>
        </pc:cxnChg>
        <pc:cxnChg chg="mod">
          <ac:chgData name="Porwal, Sanchita" userId="71fd178e-3367-4ed1-8e3d-ea794edf1079" providerId="ADAL" clId="{C58FFC49-D1AF-4F92-BADF-CF9EAD4B3BCF}" dt="2023-01-18T22:44:16.433" v="512" actId="1076"/>
          <ac:cxnSpMkLst>
            <pc:docMk/>
            <pc:sldMk cId="3205980196" sldId="268"/>
            <ac:cxnSpMk id="19" creationId="{B3E8BECF-841D-4962-B0A6-84C1E507CCBB}"/>
          </ac:cxnSpMkLst>
        </pc:cxnChg>
        <pc:cxnChg chg="mod">
          <ac:chgData name="Porwal, Sanchita" userId="71fd178e-3367-4ed1-8e3d-ea794edf1079" providerId="ADAL" clId="{C58FFC49-D1AF-4F92-BADF-CF9EAD4B3BCF}" dt="2023-01-18T22:44:16.433" v="512" actId="1076"/>
          <ac:cxnSpMkLst>
            <pc:docMk/>
            <pc:sldMk cId="3205980196" sldId="268"/>
            <ac:cxnSpMk id="26" creationId="{43CC76ED-F899-2C7D-B526-94459A153B1A}"/>
          </ac:cxnSpMkLst>
        </pc:cxnChg>
      </pc:sldChg>
      <pc:sldChg chg="addSp modSp new del mod">
        <pc:chgData name="Porwal, Sanchita" userId="71fd178e-3367-4ed1-8e3d-ea794edf1079" providerId="ADAL" clId="{C58FFC49-D1AF-4F92-BADF-CF9EAD4B3BCF}" dt="2023-01-20T04:13:36.920" v="5140" actId="47"/>
        <pc:sldMkLst>
          <pc:docMk/>
          <pc:sldMk cId="153711516" sldId="269"/>
        </pc:sldMkLst>
        <pc:spChg chg="add mod">
          <ac:chgData name="Porwal, Sanchita" userId="71fd178e-3367-4ed1-8e3d-ea794edf1079" providerId="ADAL" clId="{C58FFC49-D1AF-4F92-BADF-CF9EAD4B3BCF}" dt="2023-01-19T20:03:42.530" v="3203" actId="20577"/>
          <ac:spMkLst>
            <pc:docMk/>
            <pc:sldMk cId="153711516" sldId="269"/>
            <ac:spMk id="4" creationId="{3ED67625-2AD9-5334-0069-BAB64CE2B6FB}"/>
          </ac:spMkLst>
        </pc:spChg>
      </pc:sldChg>
    </pc:docChg>
  </pc:docChgLst>
  <pc:docChgLst>
    <pc:chgData name="Shourie, Suraj" userId="S::sshourie3@gatech.edu::86feb3a9-e74c-4603-989d-f1e4cb681bb2" providerId="AD" clId="Web-{42F5ED7C-376A-42AF-A1F1-03769D62B665}"/>
    <pc:docChg chg="modSld">
      <pc:chgData name="Shourie, Suraj" userId="S::sshourie3@gatech.edu::86feb3a9-e74c-4603-989d-f1e4cb681bb2" providerId="AD" clId="Web-{42F5ED7C-376A-42AF-A1F1-03769D62B665}" dt="2023-01-20T03:56:26.738" v="3" actId="20577"/>
      <pc:docMkLst>
        <pc:docMk/>
      </pc:docMkLst>
      <pc:sldChg chg="modSp">
        <pc:chgData name="Shourie, Suraj" userId="S::sshourie3@gatech.edu::86feb3a9-e74c-4603-989d-f1e4cb681bb2" providerId="AD" clId="Web-{42F5ED7C-376A-42AF-A1F1-03769D62B665}" dt="2023-01-20T03:56:26.738" v="3" actId="20577"/>
        <pc:sldMkLst>
          <pc:docMk/>
          <pc:sldMk cId="3536957954" sldId="265"/>
        </pc:sldMkLst>
        <pc:spChg chg="mod">
          <ac:chgData name="Shourie, Suraj" userId="S::sshourie3@gatech.edu::86feb3a9-e74c-4603-989d-f1e4cb681bb2" providerId="AD" clId="Web-{42F5ED7C-376A-42AF-A1F1-03769D62B665}" dt="2023-01-20T03:56:26.738" v="3" actId="20577"/>
          <ac:spMkLst>
            <pc:docMk/>
            <pc:sldMk cId="3536957954" sldId="265"/>
            <ac:spMk id="2" creationId="{0FCA8915-49F5-B0A7-3E79-B63CE49D5147}"/>
          </ac:spMkLst>
        </pc:spChg>
        <pc:spChg chg="mod">
          <ac:chgData name="Shourie, Suraj" userId="S::sshourie3@gatech.edu::86feb3a9-e74c-4603-989d-f1e4cb681bb2" providerId="AD" clId="Web-{42F5ED7C-376A-42AF-A1F1-03769D62B665}" dt="2023-01-20T03:56:24.800" v="2" actId="20577"/>
          <ac:spMkLst>
            <pc:docMk/>
            <pc:sldMk cId="3536957954" sldId="265"/>
            <ac:spMk id="4" creationId="{6A047E8C-A273-5F9A-E1E5-02AF9B75C7FA}"/>
          </ac:spMkLst>
        </pc:spChg>
      </pc:sldChg>
    </pc:docChg>
  </pc:docChgLst>
  <pc:docChgLst>
    <pc:chgData name="Shourie, Suraj" userId="S::sshourie3@gatech.edu::86feb3a9-e74c-4603-989d-f1e4cb681bb2" providerId="AD" clId="Web-{CACA566F-7661-476E-B9B6-077A0DF35976}"/>
    <pc:docChg chg="sldOrd">
      <pc:chgData name="Shourie, Suraj" userId="S::sshourie3@gatech.edu::86feb3a9-e74c-4603-989d-f1e4cb681bb2" providerId="AD" clId="Web-{CACA566F-7661-476E-B9B6-077A0DF35976}" dt="2023-09-10T19:46:07.862" v="0"/>
      <pc:docMkLst>
        <pc:docMk/>
      </pc:docMkLst>
      <pc:sldChg chg="ord">
        <pc:chgData name="Shourie, Suraj" userId="S::sshourie3@gatech.edu::86feb3a9-e74c-4603-989d-f1e4cb681bb2" providerId="AD" clId="Web-{CACA566F-7661-476E-B9B6-077A0DF35976}" dt="2023-09-10T19:46:07.862" v="0"/>
        <pc:sldMkLst>
          <pc:docMk/>
          <pc:sldMk cId="2795900345" sldId="26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10_CF622D5F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20-814A-8B61-1B58B0EF487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C20-814A-8B61-1B58B0EF4872}"/>
              </c:ext>
            </c:extLst>
          </c:dPt>
          <c:dLbls>
            <c:dLbl>
              <c:idx val="0"/>
              <c:layout>
                <c:manualLayout>
                  <c:x val="1.9174335629921258E-2"/>
                  <c:y val="3.8992246617110815E-2"/>
                </c:manualLayout>
              </c:layout>
              <c:tx>
                <c:rich>
                  <a:bodyPr/>
                  <a:lstStyle/>
                  <a:p>
                    <a:fld id="{02E1DE70-67D4-0E47-AA9A-40E95FA3E43E}" type="CATEGORYNAME">
                      <a:rPr lang="en-US" smtClean="0"/>
                      <a:pPr/>
                      <a:t>[CATEGORY NAME]</a:t>
                    </a:fld>
                    <a:endParaRPr lang="en-US" baseline="0"/>
                  </a:p>
                  <a:p>
                    <a:r>
                      <a:rPr lang="en-US" baseline="0"/>
                      <a:t>$493 million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668405511811025"/>
                      <c:h val="0.1443515536201062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C20-814A-8B61-1B58B0EF4872}"/>
                </c:ext>
              </c:extLst>
            </c:dLbl>
            <c:dLbl>
              <c:idx val="1"/>
              <c:layout>
                <c:manualLayout>
                  <c:x val="0.18488385826771653"/>
                  <c:y val="-0.1778315589424484"/>
                </c:manualLayout>
              </c:layout>
              <c:tx>
                <c:rich>
                  <a:bodyPr/>
                  <a:lstStyle/>
                  <a:p>
                    <a:fld id="{3B747080-0DEF-8F4F-87D6-22B4E52C0BA7}" type="CATEGORYNAME">
                      <a:rPr lang="en-US" smtClean="0"/>
                      <a:pPr/>
                      <a:t>[CATEGORY NAME]</a:t>
                    </a:fld>
                    <a:endParaRPr lang="en-US"/>
                  </a:p>
                  <a:p>
                    <a:r>
                      <a:rPr lang="en-US"/>
                      <a:t>$46.8</a:t>
                    </a:r>
                    <a:r>
                      <a:rPr lang="en-US" baseline="0"/>
                      <a:t> billion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EC20-814A-8B61-1B58B0EF48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575 Slow-selling SKUs</c:v>
                </c:pt>
                <c:pt idx="1">
                  <c:v>Everything Else</c:v>
                </c:pt>
              </c:strCache>
            </c:strRef>
          </c:cat>
          <c:val>
            <c:numRef>
              <c:f>Sheet1!$B$2:$B$3</c:f>
              <c:numCache>
                <c:formatCode>_("$"* #,##0_);_("$"* \(#,##0\);_("$"* "-"??_);_(@_)</c:formatCode>
                <c:ptCount val="2"/>
                <c:pt idx="0">
                  <c:v>493442735</c:v>
                </c:pt>
                <c:pt idx="1">
                  <c:v>467685572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20-814A-8B61-1B58B0EF4872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45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65302C-3815-764C-93F1-F2B4709AFEA2}" type="datetimeFigureOut">
              <a:rPr lang="en-US" smtClean="0"/>
              <a:t>9/1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36E35A-278A-F340-9365-AA54B3819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639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6E35A-278A-F340-9365-AA54B38194D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617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BC8E2C0F-ECA0-4807-B00F-78E70D4F1B4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57942" y="313144"/>
            <a:ext cx="1229707" cy="1055281"/>
            <a:chOff x="874713" y="2133600"/>
            <a:chExt cx="12747625" cy="10939463"/>
          </a:xfrm>
          <a:solidFill>
            <a:schemeClr val="tx1"/>
          </a:solidFill>
        </p:grpSpPr>
        <p:sp>
          <p:nvSpPr>
            <p:cNvPr id="14" name="AutoShape 31">
              <a:extLst>
                <a:ext uri="{FF2B5EF4-FFF2-40B4-BE49-F238E27FC236}">
                  <a16:creationId xmlns:a16="http://schemas.microsoft.com/office/drawing/2014/main" id="{3A2C9544-B5F6-44D1-A739-F3B6866CD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100" y="2159000"/>
              <a:ext cx="1309688" cy="20066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8788" y="0"/>
                  </a:lnTo>
                  <a:lnTo>
                    <a:pt x="8788" y="17159"/>
                  </a:lnTo>
                  <a:lnTo>
                    <a:pt x="21600" y="17159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" name="AutoShape 32">
              <a:extLst>
                <a:ext uri="{FF2B5EF4-FFF2-40B4-BE49-F238E27FC236}">
                  <a16:creationId xmlns:a16="http://schemas.microsoft.com/office/drawing/2014/main" id="{39C0AD25-3E15-4E5F-8632-934DF97B6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5700" y="2654300"/>
              <a:ext cx="15128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08" y="8514"/>
                  </a:moveTo>
                  <a:cubicBezTo>
                    <a:pt x="14988" y="5794"/>
                    <a:pt x="13585" y="4375"/>
                    <a:pt x="11100" y="4375"/>
                  </a:cubicBezTo>
                  <a:cubicBezTo>
                    <a:pt x="8776" y="4375"/>
                    <a:pt x="7213" y="5873"/>
                    <a:pt x="6813" y="8514"/>
                  </a:cubicBezTo>
                  <a:cubicBezTo>
                    <a:pt x="6813" y="8514"/>
                    <a:pt x="15108" y="8514"/>
                    <a:pt x="15108" y="8514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8"/>
                    <a:pt x="4849" y="0"/>
                    <a:pt x="11100" y="0"/>
                  </a:cubicBezTo>
                  <a:cubicBezTo>
                    <a:pt x="16711" y="0"/>
                    <a:pt x="21600" y="3153"/>
                    <a:pt x="21600" y="10563"/>
                  </a:cubicBezTo>
                  <a:lnTo>
                    <a:pt x="21600" y="12337"/>
                  </a:lnTo>
                  <a:lnTo>
                    <a:pt x="6732" y="12337"/>
                  </a:lnTo>
                  <a:cubicBezTo>
                    <a:pt x="6933" y="15293"/>
                    <a:pt x="8616" y="17028"/>
                    <a:pt x="11421" y="17028"/>
                  </a:cubicBezTo>
                  <a:cubicBezTo>
                    <a:pt x="13906" y="17028"/>
                    <a:pt x="15028" y="15964"/>
                    <a:pt x="15308" y="14426"/>
                  </a:cubicBezTo>
                  <a:lnTo>
                    <a:pt x="21600" y="14426"/>
                  </a:lnTo>
                  <a:cubicBezTo>
                    <a:pt x="20919" y="18998"/>
                    <a:pt x="17312" y="21600"/>
                    <a:pt x="11181" y="21600"/>
                  </a:cubicBezTo>
                  <a:cubicBezTo>
                    <a:pt x="4729" y="21600"/>
                    <a:pt x="0" y="17737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" name="AutoShape 33">
              <a:extLst>
                <a:ext uri="{FF2B5EF4-FFF2-40B4-BE49-F238E27FC236}">
                  <a16:creationId xmlns:a16="http://schemas.microsoft.com/office/drawing/2014/main" id="{D82991FA-1A0F-4FF4-A1EB-32AB6FEDC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400" y="23876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" name="AutoShape 34">
              <a:extLst>
                <a:ext uri="{FF2B5EF4-FFF2-40B4-BE49-F238E27FC236}">
                  <a16:creationId xmlns:a16="http://schemas.microsoft.com/office/drawing/2014/main" id="{B8E9BDF1-2AD5-41B9-A5FB-BF49EA7FC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2133600"/>
              <a:ext cx="512763" cy="800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4" y="16598"/>
                  </a:moveTo>
                  <a:cubicBezTo>
                    <a:pt x="6374" y="15764"/>
                    <a:pt x="8852" y="13642"/>
                    <a:pt x="9442" y="11748"/>
                  </a:cubicBezTo>
                  <a:cubicBezTo>
                    <a:pt x="3423" y="11520"/>
                    <a:pt x="0" y="9322"/>
                    <a:pt x="0" y="5911"/>
                  </a:cubicBezTo>
                  <a:cubicBezTo>
                    <a:pt x="0" y="2197"/>
                    <a:pt x="4721" y="0"/>
                    <a:pt x="10387" y="0"/>
                  </a:cubicBezTo>
                  <a:cubicBezTo>
                    <a:pt x="16879" y="0"/>
                    <a:pt x="21600" y="2956"/>
                    <a:pt x="21600" y="7655"/>
                  </a:cubicBezTo>
                  <a:lnTo>
                    <a:pt x="21600" y="8186"/>
                  </a:lnTo>
                  <a:cubicBezTo>
                    <a:pt x="21600" y="14855"/>
                    <a:pt x="14636" y="20236"/>
                    <a:pt x="944" y="21600"/>
                  </a:cubicBezTo>
                  <a:cubicBezTo>
                    <a:pt x="944" y="21600"/>
                    <a:pt x="944" y="16598"/>
                    <a:pt x="944" y="16598"/>
                  </a:cubicBezTo>
                  <a:close/>
                  <a:moveTo>
                    <a:pt x="944" y="1659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" name="AutoShape 35">
              <a:extLst>
                <a:ext uri="{FF2B5EF4-FFF2-40B4-BE49-F238E27FC236}">
                  <a16:creationId xmlns:a16="http://schemas.microsoft.com/office/drawing/2014/main" id="{CCE48EE1-A0AD-43F9-B1A6-7A2043E41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1800" y="26543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8"/>
                    <a:pt x="9482" y="13165"/>
                  </a:cubicBezTo>
                  <a:cubicBezTo>
                    <a:pt x="3053" y="12416"/>
                    <a:pt x="370" y="10839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6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1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" name="AutoShape 36">
              <a:extLst>
                <a:ext uri="{FF2B5EF4-FFF2-40B4-BE49-F238E27FC236}">
                  <a16:creationId xmlns:a16="http://schemas.microsoft.com/office/drawing/2014/main" id="{C2E65EF5-BC07-4391-86E5-301CD9047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400" y="51943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" name="AutoShape 37">
              <a:extLst>
                <a:ext uri="{FF2B5EF4-FFF2-40B4-BE49-F238E27FC236}">
                  <a16:creationId xmlns:a16="http://schemas.microsoft.com/office/drawing/2014/main" id="{EDBE9A70-8C9B-47D8-AE51-DD9F2DBED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700" y="54610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4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89"/>
                    <a:pt x="7185" y="13598"/>
                    <a:pt x="7185" y="15136"/>
                  </a:cubicBezTo>
                  <a:cubicBezTo>
                    <a:pt x="7185" y="16358"/>
                    <a:pt x="8018" y="17185"/>
                    <a:pt x="10077" y="17185"/>
                  </a:cubicBezTo>
                  <a:cubicBezTo>
                    <a:pt x="12531" y="17185"/>
                    <a:pt x="14414" y="15885"/>
                    <a:pt x="14414" y="13874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6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" name="AutoShape 38">
              <a:extLst>
                <a:ext uri="{FF2B5EF4-FFF2-40B4-BE49-F238E27FC236}">
                  <a16:creationId xmlns:a16="http://schemas.microsoft.com/office/drawing/2014/main" id="{99DB4D65-C1B7-4A9B-B42A-3CC713613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0" y="4902200"/>
              <a:ext cx="461963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" name="AutoShape 39">
              <a:extLst>
                <a:ext uri="{FF2B5EF4-FFF2-40B4-BE49-F238E27FC236}">
                  <a16:creationId xmlns:a16="http://schemas.microsoft.com/office/drawing/2014/main" id="{2F7D8AB1-1210-4347-A589-CB3DCD71D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9100" y="4902200"/>
              <a:ext cx="1419225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7086" y="0"/>
                  </a:lnTo>
                  <a:lnTo>
                    <a:pt x="7086" y="12461"/>
                  </a:lnTo>
                  <a:lnTo>
                    <a:pt x="13532" y="6230"/>
                  </a:lnTo>
                  <a:lnTo>
                    <a:pt x="20960" y="6230"/>
                  </a:lnTo>
                  <a:lnTo>
                    <a:pt x="13319" y="13166"/>
                  </a:lnTo>
                  <a:lnTo>
                    <a:pt x="21600" y="21600"/>
                  </a:lnTo>
                  <a:lnTo>
                    <a:pt x="13617" y="21600"/>
                  </a:lnTo>
                  <a:lnTo>
                    <a:pt x="7086" y="14694"/>
                  </a:lnTo>
                  <a:lnTo>
                    <a:pt x="7086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" name="AutoShape 40">
              <a:extLst>
                <a:ext uri="{FF2B5EF4-FFF2-40B4-BE49-F238E27FC236}">
                  <a16:creationId xmlns:a16="http://schemas.microsoft.com/office/drawing/2014/main" id="{2614580D-E835-453E-A2BE-5C799065F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6800" y="54610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4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89"/>
                    <a:pt x="7185" y="13598"/>
                    <a:pt x="7185" y="15136"/>
                  </a:cubicBezTo>
                  <a:cubicBezTo>
                    <a:pt x="7185" y="16358"/>
                    <a:pt x="8018" y="17185"/>
                    <a:pt x="10077" y="17185"/>
                  </a:cubicBezTo>
                  <a:cubicBezTo>
                    <a:pt x="12531" y="17185"/>
                    <a:pt x="14414" y="15885"/>
                    <a:pt x="14414" y="13874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6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" name="AutoShape 41">
              <a:extLst>
                <a:ext uri="{FF2B5EF4-FFF2-40B4-BE49-F238E27FC236}">
                  <a16:creationId xmlns:a16="http://schemas.microsoft.com/office/drawing/2014/main" id="{F469955A-20E0-4748-ADAC-3EF83696B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000" y="4902200"/>
              <a:ext cx="1554163" cy="20970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13793"/>
                  </a:moveTo>
                  <a:lnTo>
                    <a:pt x="15011" y="13561"/>
                  </a:lnTo>
                  <a:cubicBezTo>
                    <a:pt x="15011" y="10757"/>
                    <a:pt x="13295" y="9398"/>
                    <a:pt x="10683" y="9398"/>
                  </a:cubicBezTo>
                  <a:cubicBezTo>
                    <a:pt x="7993" y="9398"/>
                    <a:pt x="6277" y="10814"/>
                    <a:pt x="6277" y="13533"/>
                  </a:cubicBezTo>
                  <a:lnTo>
                    <a:pt x="6277" y="13764"/>
                  </a:lnTo>
                  <a:cubicBezTo>
                    <a:pt x="6277" y="16511"/>
                    <a:pt x="7993" y="17899"/>
                    <a:pt x="10722" y="17899"/>
                  </a:cubicBezTo>
                  <a:cubicBezTo>
                    <a:pt x="13529" y="17899"/>
                    <a:pt x="15011" y="16453"/>
                    <a:pt x="15011" y="13793"/>
                  </a:cubicBezTo>
                  <a:close/>
                  <a:moveTo>
                    <a:pt x="6472" y="18882"/>
                  </a:moveTo>
                  <a:lnTo>
                    <a:pt x="6472" y="21253"/>
                  </a:lnTo>
                  <a:lnTo>
                    <a:pt x="0" y="21253"/>
                  </a:lnTo>
                  <a:lnTo>
                    <a:pt x="0" y="0"/>
                  </a:lnTo>
                  <a:lnTo>
                    <a:pt x="6472" y="0"/>
                  </a:lnTo>
                  <a:lnTo>
                    <a:pt x="6472" y="8415"/>
                  </a:lnTo>
                  <a:cubicBezTo>
                    <a:pt x="7642" y="6969"/>
                    <a:pt x="9825" y="5754"/>
                    <a:pt x="12906" y="5754"/>
                  </a:cubicBezTo>
                  <a:cubicBezTo>
                    <a:pt x="17740" y="5754"/>
                    <a:pt x="21600" y="8443"/>
                    <a:pt x="21600" y="13561"/>
                  </a:cubicBezTo>
                  <a:lnTo>
                    <a:pt x="21600" y="13793"/>
                  </a:lnTo>
                  <a:cubicBezTo>
                    <a:pt x="21600" y="18911"/>
                    <a:pt x="17779" y="21600"/>
                    <a:pt x="12866" y="21600"/>
                  </a:cubicBezTo>
                  <a:cubicBezTo>
                    <a:pt x="9786" y="21600"/>
                    <a:pt x="7525" y="20501"/>
                    <a:pt x="6472" y="18882"/>
                  </a:cubicBezTo>
                  <a:close/>
                  <a:moveTo>
                    <a:pt x="6472" y="1888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" name="AutoShape 42">
              <a:extLst>
                <a:ext uri="{FF2B5EF4-FFF2-40B4-BE49-F238E27FC236}">
                  <a16:creationId xmlns:a16="http://schemas.microsoft.com/office/drawing/2014/main" id="{896D7F85-6DE4-481F-9655-AD4EE789C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8000" y="5461000"/>
              <a:ext cx="158273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28" y="10958"/>
                  </a:moveTo>
                  <a:lnTo>
                    <a:pt x="15128" y="10642"/>
                  </a:lnTo>
                  <a:cubicBezTo>
                    <a:pt x="15128" y="7016"/>
                    <a:pt x="13596" y="4927"/>
                    <a:pt x="10838" y="4927"/>
                  </a:cubicBezTo>
                  <a:cubicBezTo>
                    <a:pt x="8042" y="4927"/>
                    <a:pt x="6472" y="6937"/>
                    <a:pt x="6472" y="10563"/>
                  </a:cubicBezTo>
                  <a:lnTo>
                    <a:pt x="6472" y="10879"/>
                  </a:lnTo>
                  <a:cubicBezTo>
                    <a:pt x="6472" y="14584"/>
                    <a:pt x="8004" y="16673"/>
                    <a:pt x="10838" y="16673"/>
                  </a:cubicBezTo>
                  <a:cubicBezTo>
                    <a:pt x="13596" y="16673"/>
                    <a:pt x="15128" y="14544"/>
                    <a:pt x="15128" y="10958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8"/>
                    <a:pt x="4672" y="0"/>
                    <a:pt x="10838" y="0"/>
                  </a:cubicBezTo>
                  <a:cubicBezTo>
                    <a:pt x="16927" y="0"/>
                    <a:pt x="21600" y="4060"/>
                    <a:pt x="21600" y="10563"/>
                  </a:cubicBezTo>
                  <a:lnTo>
                    <a:pt x="21600" y="10879"/>
                  </a:lnTo>
                  <a:cubicBezTo>
                    <a:pt x="21600" y="17540"/>
                    <a:pt x="16889" y="21600"/>
                    <a:pt x="10800" y="21600"/>
                  </a:cubicBezTo>
                  <a:cubicBezTo>
                    <a:pt x="4672" y="21600"/>
                    <a:pt x="0" y="17658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" name="AutoShape 43">
              <a:extLst>
                <a:ext uri="{FF2B5EF4-FFF2-40B4-BE49-F238E27FC236}">
                  <a16:creationId xmlns:a16="http://schemas.microsoft.com/office/drawing/2014/main" id="{3FBDD8C8-2A2C-488B-B85D-B255B1F2F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25200" y="5499100"/>
              <a:ext cx="1428750" cy="15017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3727"/>
                  </a:moveTo>
                  <a:lnTo>
                    <a:pt x="0" y="0"/>
                  </a:lnTo>
                  <a:lnTo>
                    <a:pt x="7045" y="0"/>
                  </a:lnTo>
                  <a:lnTo>
                    <a:pt x="7045" y="12677"/>
                  </a:lnTo>
                  <a:cubicBezTo>
                    <a:pt x="7045" y="15261"/>
                    <a:pt x="8105" y="16472"/>
                    <a:pt x="10439" y="16472"/>
                  </a:cubicBezTo>
                  <a:cubicBezTo>
                    <a:pt x="12858" y="16472"/>
                    <a:pt x="14556" y="15100"/>
                    <a:pt x="14556" y="12233"/>
                  </a:cubicBezTo>
                  <a:lnTo>
                    <a:pt x="14556" y="0"/>
                  </a:lnTo>
                  <a:lnTo>
                    <a:pt x="21600" y="0"/>
                  </a:lnTo>
                  <a:lnTo>
                    <a:pt x="21600" y="21115"/>
                  </a:lnTo>
                  <a:lnTo>
                    <a:pt x="14556" y="21115"/>
                  </a:lnTo>
                  <a:lnTo>
                    <a:pt x="14556" y="17845"/>
                  </a:lnTo>
                  <a:cubicBezTo>
                    <a:pt x="13367" y="19985"/>
                    <a:pt x="11161" y="21600"/>
                    <a:pt x="7511" y="21600"/>
                  </a:cubicBezTo>
                  <a:cubicBezTo>
                    <a:pt x="3183" y="21600"/>
                    <a:pt x="0" y="19097"/>
                    <a:pt x="0" y="13727"/>
                  </a:cubicBezTo>
                  <a:close/>
                  <a:moveTo>
                    <a:pt x="0" y="13727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" name="AutoShape 44">
              <a:extLst>
                <a:ext uri="{FF2B5EF4-FFF2-40B4-BE49-F238E27FC236}">
                  <a16:creationId xmlns:a16="http://schemas.microsoft.com/office/drawing/2014/main" id="{7AE7B988-F203-4B08-83EC-A7E857709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74600" y="51943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" name="AutoShape 45">
              <a:extLst>
                <a:ext uri="{FF2B5EF4-FFF2-40B4-BE49-F238E27FC236}">
                  <a16:creationId xmlns:a16="http://schemas.microsoft.com/office/drawing/2014/main" id="{72594E18-1279-41D8-AE1A-58B03F205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713" y="8305800"/>
              <a:ext cx="2292350" cy="14684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4606" y="0"/>
                  </a:lnTo>
                  <a:lnTo>
                    <a:pt x="6803" y="13546"/>
                  </a:lnTo>
                  <a:lnTo>
                    <a:pt x="9265" y="0"/>
                  </a:lnTo>
                  <a:lnTo>
                    <a:pt x="12812" y="0"/>
                  </a:lnTo>
                  <a:lnTo>
                    <a:pt x="15035" y="13546"/>
                  </a:lnTo>
                  <a:lnTo>
                    <a:pt x="17418" y="0"/>
                  </a:lnTo>
                  <a:lnTo>
                    <a:pt x="21600" y="0"/>
                  </a:lnTo>
                  <a:lnTo>
                    <a:pt x="17232" y="21600"/>
                  </a:lnTo>
                  <a:lnTo>
                    <a:pt x="12970" y="21600"/>
                  </a:lnTo>
                  <a:lnTo>
                    <a:pt x="10800" y="8962"/>
                  </a:lnTo>
                  <a:lnTo>
                    <a:pt x="8524" y="21600"/>
                  </a:lnTo>
                  <a:lnTo>
                    <a:pt x="4209" y="21600"/>
                  </a:lnTo>
                  <a:cubicBezTo>
                    <a:pt x="4209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" name="AutoShape 46">
              <a:extLst>
                <a:ext uri="{FF2B5EF4-FFF2-40B4-BE49-F238E27FC236}">
                  <a16:creationId xmlns:a16="http://schemas.microsoft.com/office/drawing/2014/main" id="{0F80056F-20B8-4658-8FCA-40C936DB2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7708900"/>
              <a:ext cx="1433512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7030" y="0"/>
                  </a:lnTo>
                  <a:lnTo>
                    <a:pt x="7030" y="8699"/>
                  </a:lnTo>
                  <a:cubicBezTo>
                    <a:pt x="8174" y="7141"/>
                    <a:pt x="10631" y="5848"/>
                    <a:pt x="14273" y="5848"/>
                  </a:cubicBezTo>
                  <a:cubicBezTo>
                    <a:pt x="18593" y="5848"/>
                    <a:pt x="21600" y="7670"/>
                    <a:pt x="21600" y="11696"/>
                  </a:cubicBezTo>
                  <a:lnTo>
                    <a:pt x="21600" y="21600"/>
                  </a:lnTo>
                  <a:lnTo>
                    <a:pt x="14570" y="21600"/>
                  </a:lnTo>
                  <a:lnTo>
                    <a:pt x="14570" y="12578"/>
                  </a:lnTo>
                  <a:cubicBezTo>
                    <a:pt x="14570" y="10697"/>
                    <a:pt x="13511" y="9816"/>
                    <a:pt x="11139" y="9816"/>
                  </a:cubicBezTo>
                  <a:cubicBezTo>
                    <a:pt x="8767" y="9816"/>
                    <a:pt x="7030" y="10815"/>
                    <a:pt x="7030" y="12901"/>
                  </a:cubicBezTo>
                  <a:lnTo>
                    <a:pt x="703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" name="AutoShape 47">
              <a:extLst>
                <a:ext uri="{FF2B5EF4-FFF2-40B4-BE49-F238E27FC236}">
                  <a16:creationId xmlns:a16="http://schemas.microsoft.com/office/drawing/2014/main" id="{6B564E43-D579-44FC-B952-3785D55B5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6000" y="82677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5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90"/>
                    <a:pt x="7185" y="13599"/>
                    <a:pt x="7185" y="15136"/>
                  </a:cubicBezTo>
                  <a:cubicBezTo>
                    <a:pt x="7185" y="16358"/>
                    <a:pt x="8018" y="17186"/>
                    <a:pt x="10077" y="17186"/>
                  </a:cubicBezTo>
                  <a:cubicBezTo>
                    <a:pt x="12531" y="17186"/>
                    <a:pt x="14414" y="15885"/>
                    <a:pt x="14414" y="13875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7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" name="AutoShape 48">
              <a:extLst>
                <a:ext uri="{FF2B5EF4-FFF2-40B4-BE49-F238E27FC236}">
                  <a16:creationId xmlns:a16="http://schemas.microsoft.com/office/drawing/2014/main" id="{37752E04-17F0-45AA-80CE-CC279998A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500" y="80010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8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0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9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" name="AutoShape 49">
              <a:extLst>
                <a:ext uri="{FF2B5EF4-FFF2-40B4-BE49-F238E27FC236}">
                  <a16:creationId xmlns:a16="http://schemas.microsoft.com/office/drawing/2014/main" id="{50C55E8A-1411-4E25-8E7D-F5F8F968A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0" y="7747000"/>
              <a:ext cx="512763" cy="800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4" y="16598"/>
                  </a:moveTo>
                  <a:cubicBezTo>
                    <a:pt x="6374" y="15764"/>
                    <a:pt x="8852" y="13642"/>
                    <a:pt x="9442" y="11748"/>
                  </a:cubicBezTo>
                  <a:cubicBezTo>
                    <a:pt x="3423" y="11520"/>
                    <a:pt x="0" y="9322"/>
                    <a:pt x="0" y="5911"/>
                  </a:cubicBezTo>
                  <a:cubicBezTo>
                    <a:pt x="0" y="2197"/>
                    <a:pt x="4721" y="0"/>
                    <a:pt x="10387" y="0"/>
                  </a:cubicBezTo>
                  <a:cubicBezTo>
                    <a:pt x="16879" y="0"/>
                    <a:pt x="21600" y="2956"/>
                    <a:pt x="21600" y="7655"/>
                  </a:cubicBezTo>
                  <a:lnTo>
                    <a:pt x="21600" y="8186"/>
                  </a:lnTo>
                  <a:cubicBezTo>
                    <a:pt x="21600" y="14855"/>
                    <a:pt x="14636" y="20236"/>
                    <a:pt x="944" y="21600"/>
                  </a:cubicBezTo>
                  <a:cubicBezTo>
                    <a:pt x="944" y="21600"/>
                    <a:pt x="944" y="16598"/>
                    <a:pt x="944" y="16598"/>
                  </a:cubicBezTo>
                  <a:close/>
                  <a:moveTo>
                    <a:pt x="944" y="1659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" name="AutoShape 50">
              <a:extLst>
                <a:ext uri="{FF2B5EF4-FFF2-40B4-BE49-F238E27FC236}">
                  <a16:creationId xmlns:a16="http://schemas.microsoft.com/office/drawing/2014/main" id="{9A355702-F22F-46CE-BF5E-86EAA7587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8600" y="82677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6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1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" name="AutoShape 51">
              <a:extLst>
                <a:ext uri="{FF2B5EF4-FFF2-40B4-BE49-F238E27FC236}">
                  <a16:creationId xmlns:a16="http://schemas.microsoft.com/office/drawing/2014/main" id="{C3791F09-B6CD-4F48-A889-8509A0F85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11074400"/>
              <a:ext cx="1554163" cy="19986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8434"/>
                  </a:moveTo>
                  <a:lnTo>
                    <a:pt x="15011" y="8191"/>
                  </a:lnTo>
                  <a:cubicBezTo>
                    <a:pt x="15011" y="5248"/>
                    <a:pt x="13296" y="3823"/>
                    <a:pt x="10683" y="3823"/>
                  </a:cubicBezTo>
                  <a:cubicBezTo>
                    <a:pt x="7993" y="3823"/>
                    <a:pt x="6277" y="5309"/>
                    <a:pt x="6277" y="8161"/>
                  </a:cubicBezTo>
                  <a:lnTo>
                    <a:pt x="6277" y="8403"/>
                  </a:lnTo>
                  <a:cubicBezTo>
                    <a:pt x="6277" y="11286"/>
                    <a:pt x="7993" y="12741"/>
                    <a:pt x="10722" y="12741"/>
                  </a:cubicBezTo>
                  <a:cubicBezTo>
                    <a:pt x="13529" y="12741"/>
                    <a:pt x="15011" y="11225"/>
                    <a:pt x="15011" y="8434"/>
                  </a:cubicBezTo>
                  <a:close/>
                  <a:moveTo>
                    <a:pt x="0" y="395"/>
                  </a:moveTo>
                  <a:lnTo>
                    <a:pt x="6472" y="395"/>
                  </a:lnTo>
                  <a:lnTo>
                    <a:pt x="6472" y="2791"/>
                  </a:lnTo>
                  <a:cubicBezTo>
                    <a:pt x="7642" y="1274"/>
                    <a:pt x="9825" y="0"/>
                    <a:pt x="12906" y="0"/>
                  </a:cubicBezTo>
                  <a:cubicBezTo>
                    <a:pt x="17740" y="0"/>
                    <a:pt x="21600" y="2821"/>
                    <a:pt x="21600" y="8191"/>
                  </a:cubicBezTo>
                  <a:lnTo>
                    <a:pt x="21600" y="8434"/>
                  </a:lnTo>
                  <a:cubicBezTo>
                    <a:pt x="21600" y="13804"/>
                    <a:pt x="17779" y="16624"/>
                    <a:pt x="12866" y="16624"/>
                  </a:cubicBezTo>
                  <a:cubicBezTo>
                    <a:pt x="9747" y="16624"/>
                    <a:pt x="7525" y="15472"/>
                    <a:pt x="6472" y="13894"/>
                  </a:cubicBezTo>
                  <a:lnTo>
                    <a:pt x="6472" y="21600"/>
                  </a:lnTo>
                  <a:lnTo>
                    <a:pt x="0" y="21600"/>
                  </a:lnTo>
                  <a:cubicBezTo>
                    <a:pt x="0" y="21600"/>
                    <a:pt x="0" y="395"/>
                    <a:pt x="0" y="395"/>
                  </a:cubicBezTo>
                  <a:close/>
                  <a:moveTo>
                    <a:pt x="0" y="39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" name="AutoShape 52">
              <a:extLst>
                <a:ext uri="{FF2B5EF4-FFF2-40B4-BE49-F238E27FC236}">
                  <a16:creationId xmlns:a16="http://schemas.microsoft.com/office/drawing/2014/main" id="{2E28320E-39D0-483C-B08D-791A2E887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300" y="11074400"/>
              <a:ext cx="158273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28" y="10958"/>
                  </a:moveTo>
                  <a:lnTo>
                    <a:pt x="15128" y="10643"/>
                  </a:lnTo>
                  <a:cubicBezTo>
                    <a:pt x="15128" y="7016"/>
                    <a:pt x="13596" y="4928"/>
                    <a:pt x="10838" y="4928"/>
                  </a:cubicBezTo>
                  <a:cubicBezTo>
                    <a:pt x="8042" y="4928"/>
                    <a:pt x="6472" y="6937"/>
                    <a:pt x="6472" y="10564"/>
                  </a:cubicBezTo>
                  <a:lnTo>
                    <a:pt x="6472" y="10879"/>
                  </a:lnTo>
                  <a:cubicBezTo>
                    <a:pt x="6472" y="14584"/>
                    <a:pt x="8004" y="16673"/>
                    <a:pt x="10838" y="16673"/>
                  </a:cubicBezTo>
                  <a:cubicBezTo>
                    <a:pt x="13596" y="16673"/>
                    <a:pt x="15128" y="14545"/>
                    <a:pt x="15128" y="10958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9"/>
                    <a:pt x="4672" y="0"/>
                    <a:pt x="10838" y="0"/>
                  </a:cubicBezTo>
                  <a:cubicBezTo>
                    <a:pt x="16927" y="0"/>
                    <a:pt x="21600" y="4060"/>
                    <a:pt x="21600" y="10564"/>
                  </a:cubicBezTo>
                  <a:lnTo>
                    <a:pt x="21600" y="10879"/>
                  </a:lnTo>
                  <a:cubicBezTo>
                    <a:pt x="21600" y="17541"/>
                    <a:pt x="16889" y="21600"/>
                    <a:pt x="10800" y="21600"/>
                  </a:cubicBezTo>
                  <a:cubicBezTo>
                    <a:pt x="4672" y="21600"/>
                    <a:pt x="0" y="17659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" name="AutoShape 53">
              <a:extLst>
                <a:ext uri="{FF2B5EF4-FFF2-40B4-BE49-F238E27FC236}">
                  <a16:creationId xmlns:a16="http://schemas.microsoft.com/office/drawing/2014/main" id="{AE52347F-2AAD-4830-8501-138B095AC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0" y="110744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7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2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" name="AutoShape 54">
              <a:extLst>
                <a:ext uri="{FF2B5EF4-FFF2-40B4-BE49-F238E27FC236}">
                  <a16:creationId xmlns:a16="http://schemas.microsoft.com/office/drawing/2014/main" id="{ED8C7A6B-BB0B-4719-A3E6-1F80FA551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9600" y="110744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7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2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" name="AutoShape 55">
              <a:extLst>
                <a:ext uri="{FF2B5EF4-FFF2-40B4-BE49-F238E27FC236}">
                  <a16:creationId xmlns:a16="http://schemas.microsoft.com/office/drawing/2014/main" id="{CEC9E09E-089E-495F-882E-8CD32ACC4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4700" y="10502900"/>
              <a:ext cx="519113" cy="20764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68" y="6334"/>
                  </a:moveTo>
                  <a:lnTo>
                    <a:pt x="20550" y="6334"/>
                  </a:lnTo>
                  <a:lnTo>
                    <a:pt x="20550" y="21600"/>
                  </a:lnTo>
                  <a:lnTo>
                    <a:pt x="1168" y="21600"/>
                  </a:lnTo>
                  <a:cubicBezTo>
                    <a:pt x="1168" y="21600"/>
                    <a:pt x="1168" y="6334"/>
                    <a:pt x="1168" y="6334"/>
                  </a:cubicBezTo>
                  <a:close/>
                  <a:moveTo>
                    <a:pt x="0" y="2569"/>
                  </a:moveTo>
                  <a:cubicBezTo>
                    <a:pt x="0" y="1109"/>
                    <a:pt x="4670" y="0"/>
                    <a:pt x="10741" y="0"/>
                  </a:cubicBezTo>
                  <a:cubicBezTo>
                    <a:pt x="16814" y="0"/>
                    <a:pt x="21600" y="1109"/>
                    <a:pt x="21600" y="2569"/>
                  </a:cubicBezTo>
                  <a:cubicBezTo>
                    <a:pt x="21600" y="4028"/>
                    <a:pt x="16814" y="5108"/>
                    <a:pt x="10741" y="5108"/>
                  </a:cubicBezTo>
                  <a:cubicBezTo>
                    <a:pt x="4670" y="5108"/>
                    <a:pt x="0" y="4028"/>
                    <a:pt x="0" y="2569"/>
                  </a:cubicBezTo>
                  <a:close/>
                  <a:moveTo>
                    <a:pt x="0" y="256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" name="AutoShape 56">
              <a:extLst>
                <a:ext uri="{FF2B5EF4-FFF2-40B4-BE49-F238E27FC236}">
                  <a16:creationId xmlns:a16="http://schemas.microsoft.com/office/drawing/2014/main" id="{76EEB1E9-F835-481F-9170-45BFAE382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8600" y="10515600"/>
              <a:ext cx="1554163" cy="20970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13793"/>
                  </a:moveTo>
                  <a:lnTo>
                    <a:pt x="15011" y="13562"/>
                  </a:lnTo>
                  <a:cubicBezTo>
                    <a:pt x="15011" y="10757"/>
                    <a:pt x="13295" y="9398"/>
                    <a:pt x="10683" y="9398"/>
                  </a:cubicBezTo>
                  <a:cubicBezTo>
                    <a:pt x="7993" y="9398"/>
                    <a:pt x="6277" y="10815"/>
                    <a:pt x="6277" y="13533"/>
                  </a:cubicBezTo>
                  <a:lnTo>
                    <a:pt x="6277" y="13764"/>
                  </a:lnTo>
                  <a:cubicBezTo>
                    <a:pt x="6277" y="16511"/>
                    <a:pt x="7993" y="17899"/>
                    <a:pt x="10722" y="17899"/>
                  </a:cubicBezTo>
                  <a:cubicBezTo>
                    <a:pt x="13529" y="17899"/>
                    <a:pt x="15011" y="16453"/>
                    <a:pt x="15011" y="13793"/>
                  </a:cubicBezTo>
                  <a:close/>
                  <a:moveTo>
                    <a:pt x="6472" y="18882"/>
                  </a:moveTo>
                  <a:lnTo>
                    <a:pt x="6472" y="21253"/>
                  </a:lnTo>
                  <a:lnTo>
                    <a:pt x="0" y="21253"/>
                  </a:lnTo>
                  <a:lnTo>
                    <a:pt x="0" y="0"/>
                  </a:lnTo>
                  <a:lnTo>
                    <a:pt x="6472" y="0"/>
                  </a:lnTo>
                  <a:lnTo>
                    <a:pt x="6472" y="8415"/>
                  </a:lnTo>
                  <a:cubicBezTo>
                    <a:pt x="7642" y="6969"/>
                    <a:pt x="9825" y="5754"/>
                    <a:pt x="12906" y="5754"/>
                  </a:cubicBezTo>
                  <a:cubicBezTo>
                    <a:pt x="17740" y="5754"/>
                    <a:pt x="21600" y="8443"/>
                    <a:pt x="21600" y="13562"/>
                  </a:cubicBezTo>
                  <a:lnTo>
                    <a:pt x="21600" y="13793"/>
                  </a:lnTo>
                  <a:cubicBezTo>
                    <a:pt x="21600" y="18911"/>
                    <a:pt x="17779" y="21600"/>
                    <a:pt x="12866" y="21600"/>
                  </a:cubicBezTo>
                  <a:cubicBezTo>
                    <a:pt x="9786" y="21600"/>
                    <a:pt x="7525" y="20502"/>
                    <a:pt x="6472" y="18882"/>
                  </a:cubicBezTo>
                  <a:close/>
                  <a:moveTo>
                    <a:pt x="6472" y="1888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" name="AutoShape 57">
              <a:extLst>
                <a:ext uri="{FF2B5EF4-FFF2-40B4-BE49-F238E27FC236}">
                  <a16:creationId xmlns:a16="http://schemas.microsoft.com/office/drawing/2014/main" id="{1FA17B61-02F5-4843-A14A-D33719E5C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5800" y="10515600"/>
              <a:ext cx="461963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" name="AutoShape 58">
              <a:extLst>
                <a:ext uri="{FF2B5EF4-FFF2-40B4-BE49-F238E27FC236}">
                  <a16:creationId xmlns:a16="http://schemas.microsoft.com/office/drawing/2014/main" id="{D7AF6792-2F4E-48DF-B827-190D9D1EE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8100" y="11074400"/>
              <a:ext cx="15128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08" y="8514"/>
                  </a:moveTo>
                  <a:cubicBezTo>
                    <a:pt x="14988" y="5794"/>
                    <a:pt x="13585" y="4376"/>
                    <a:pt x="11100" y="4376"/>
                  </a:cubicBezTo>
                  <a:cubicBezTo>
                    <a:pt x="8776" y="4376"/>
                    <a:pt x="7213" y="5873"/>
                    <a:pt x="6813" y="8514"/>
                  </a:cubicBezTo>
                  <a:cubicBezTo>
                    <a:pt x="6813" y="8514"/>
                    <a:pt x="15108" y="8514"/>
                    <a:pt x="15108" y="8514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9"/>
                    <a:pt x="4849" y="0"/>
                    <a:pt x="11100" y="0"/>
                  </a:cubicBezTo>
                  <a:cubicBezTo>
                    <a:pt x="16711" y="0"/>
                    <a:pt x="21600" y="3153"/>
                    <a:pt x="21600" y="10564"/>
                  </a:cubicBezTo>
                  <a:lnTo>
                    <a:pt x="21600" y="12338"/>
                  </a:lnTo>
                  <a:lnTo>
                    <a:pt x="6732" y="12338"/>
                  </a:lnTo>
                  <a:cubicBezTo>
                    <a:pt x="6933" y="15294"/>
                    <a:pt x="8616" y="17028"/>
                    <a:pt x="11421" y="17028"/>
                  </a:cubicBezTo>
                  <a:cubicBezTo>
                    <a:pt x="13906" y="17028"/>
                    <a:pt x="15028" y="15963"/>
                    <a:pt x="15308" y="14426"/>
                  </a:cubicBezTo>
                  <a:lnTo>
                    <a:pt x="21600" y="14426"/>
                  </a:lnTo>
                  <a:cubicBezTo>
                    <a:pt x="20919" y="18999"/>
                    <a:pt x="17312" y="21600"/>
                    <a:pt x="11181" y="21600"/>
                  </a:cubicBezTo>
                  <a:cubicBezTo>
                    <a:pt x="4729" y="21600"/>
                    <a:pt x="0" y="17738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" name="AutoShape 59">
              <a:extLst>
                <a:ext uri="{FF2B5EF4-FFF2-40B4-BE49-F238E27FC236}">
                  <a16:creationId xmlns:a16="http://schemas.microsoft.com/office/drawing/2014/main" id="{58DCE6A4-7734-42E5-9B2A-2A39F1D2C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36400" y="12077700"/>
              <a:ext cx="549275" cy="53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801"/>
                  </a:moveTo>
                  <a:cubicBezTo>
                    <a:pt x="0" y="4838"/>
                    <a:pt x="4519" y="0"/>
                    <a:pt x="10690" y="0"/>
                  </a:cubicBezTo>
                  <a:cubicBezTo>
                    <a:pt x="16972" y="0"/>
                    <a:pt x="21600" y="4838"/>
                    <a:pt x="21600" y="10801"/>
                  </a:cubicBezTo>
                  <a:cubicBezTo>
                    <a:pt x="21600" y="16762"/>
                    <a:pt x="16972" y="21600"/>
                    <a:pt x="10690" y="21600"/>
                  </a:cubicBezTo>
                  <a:cubicBezTo>
                    <a:pt x="4519" y="21600"/>
                    <a:pt x="0" y="16762"/>
                    <a:pt x="0" y="10801"/>
                  </a:cubicBezTo>
                  <a:close/>
                  <a:moveTo>
                    <a:pt x="0" y="1080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" name="AutoShape 60">
              <a:extLst>
                <a:ext uri="{FF2B5EF4-FFF2-40B4-BE49-F238E27FC236}">
                  <a16:creationId xmlns:a16="http://schemas.microsoft.com/office/drawing/2014/main" id="{B35304AA-E820-4F74-8DA7-DD0C36814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36400" y="11074400"/>
              <a:ext cx="373063" cy="1873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379" y="0"/>
                  </a:moveTo>
                  <a:lnTo>
                    <a:pt x="12973" y="0"/>
                  </a:lnTo>
                  <a:lnTo>
                    <a:pt x="16009" y="15160"/>
                  </a:lnTo>
                  <a:lnTo>
                    <a:pt x="18972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9715" y="21600"/>
                  </a:lnTo>
                  <a:lnTo>
                    <a:pt x="19715" y="4759"/>
                  </a:lnTo>
                  <a:lnTo>
                    <a:pt x="16243" y="21600"/>
                  </a:lnTo>
                  <a:lnTo>
                    <a:pt x="15604" y="21600"/>
                  </a:lnTo>
                  <a:lnTo>
                    <a:pt x="12097" y="4759"/>
                  </a:lnTo>
                  <a:lnTo>
                    <a:pt x="12097" y="21600"/>
                  </a:lnTo>
                  <a:lnTo>
                    <a:pt x="10379" y="21600"/>
                  </a:lnTo>
                  <a:cubicBezTo>
                    <a:pt x="10379" y="21600"/>
                    <a:pt x="10379" y="0"/>
                    <a:pt x="10379" y="0"/>
                  </a:cubicBezTo>
                  <a:close/>
                  <a:moveTo>
                    <a:pt x="3302" y="2953"/>
                  </a:moveTo>
                  <a:lnTo>
                    <a:pt x="0" y="2953"/>
                  </a:lnTo>
                  <a:lnTo>
                    <a:pt x="0" y="0"/>
                  </a:lnTo>
                  <a:lnTo>
                    <a:pt x="8460" y="0"/>
                  </a:lnTo>
                  <a:lnTo>
                    <a:pt x="8460" y="2953"/>
                  </a:lnTo>
                  <a:lnTo>
                    <a:pt x="5190" y="2953"/>
                  </a:lnTo>
                  <a:lnTo>
                    <a:pt x="5190" y="21600"/>
                  </a:lnTo>
                  <a:lnTo>
                    <a:pt x="3302" y="21600"/>
                  </a:lnTo>
                  <a:cubicBezTo>
                    <a:pt x="3302" y="21600"/>
                    <a:pt x="3302" y="2953"/>
                    <a:pt x="3302" y="2953"/>
                  </a:cubicBezTo>
                  <a:close/>
                  <a:moveTo>
                    <a:pt x="3302" y="295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EA166A3-BDB1-4B4C-A691-0975E59F913D}"/>
              </a:ext>
            </a:extLst>
          </p:cNvPr>
          <p:cNvCxnSpPr>
            <a:cxnSpLocks/>
          </p:cNvCxnSpPr>
          <p:nvPr userDrawn="1"/>
        </p:nvCxnSpPr>
        <p:spPr>
          <a:xfrm>
            <a:off x="202791" y="6584457"/>
            <a:ext cx="1181013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ooter Placeholder 50">
            <a:extLst>
              <a:ext uri="{FF2B5EF4-FFF2-40B4-BE49-F238E27FC236}">
                <a16:creationId xmlns:a16="http://schemas.microsoft.com/office/drawing/2014/main" id="{BED14AAE-4404-46FE-A0CF-252B50AD30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52" name="Slide Number Placeholder 51">
            <a:extLst>
              <a:ext uri="{FF2B5EF4-FFF2-40B4-BE49-F238E27FC236}">
                <a16:creationId xmlns:a16="http://schemas.microsoft.com/office/drawing/2014/main" id="{0A6D4D00-F599-4B2E-831F-5E94FEDB3E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3D6A9FB1-A960-4D28-8782-350767C17841}"/>
              </a:ext>
            </a:extLst>
          </p:cNvPr>
          <p:cNvSpPr txBox="1">
            <a:spLocks/>
          </p:cNvSpPr>
          <p:nvPr userDrawn="1"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INTERNAL USE ONLY. DO NOT COPY, PUBLISH OR DISTRIBUTE. THE MATERIAL IN THIS DOCUMENT IS CONFIDENTIAL TO BEST BUY.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0146603E-19A9-4A14-9A3C-CF0E76561E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3018" y="3509516"/>
            <a:ext cx="10908337" cy="886397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>
              <a:defRPr lang="en-US" sz="7200" dirty="0"/>
            </a:lvl1pPr>
          </a:lstStyle>
          <a:p>
            <a:pPr lvl="0"/>
            <a:r>
              <a:rPr lang="en-US"/>
              <a:t>Click to edit Name or Title</a:t>
            </a: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DC6A7E89-F63F-40C2-A449-5A6913D101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1044" y="6187411"/>
            <a:ext cx="560538" cy="327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4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Yellow Thank Yo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D98BE-DF4A-4FBD-95F7-4C806A8E78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964187"/>
            <a:ext cx="11010900" cy="2929626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7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F1C7B1-FF0B-432E-BEF3-A4F425D400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0F4816-1E8E-4305-A4AD-CECB45FDF2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2137ED-1B02-4691-A6FA-8A4730C71F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76C6D25-0DF0-41A6-AA78-37B0806066E8}"/>
              </a:ext>
            </a:extLst>
          </p:cNvPr>
          <p:cNvSpPr txBox="1">
            <a:spLocks/>
          </p:cNvSpPr>
          <p:nvPr userDrawn="1"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bg1"/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bg1"/>
                </a:solidFill>
              </a:rPr>
              <a:t>INTERNAL USE ONLY. DO NOT COPY, PUBLISH OR DISTRIBUTE. THE MATERIAL IN THIS DOCUMENT IS CONFIDENTIAL TO BEST BUY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A06DF-E16B-4385-8FBD-AB36FB62836C}"/>
              </a:ext>
            </a:extLst>
          </p:cNvPr>
          <p:cNvCxnSpPr>
            <a:cxnSpLocks/>
          </p:cNvCxnSpPr>
          <p:nvPr userDrawn="1"/>
        </p:nvCxnSpPr>
        <p:spPr>
          <a:xfrm>
            <a:off x="195591" y="6577782"/>
            <a:ext cx="11830342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F2AB75F2-674F-4F9C-89AD-6B1B501A30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8184" y="6199285"/>
            <a:ext cx="560538" cy="327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56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D98BE-DF4A-4FBD-95F7-4C806A8E7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4844" y="3290059"/>
            <a:ext cx="10974911" cy="886397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7200" dirty="0"/>
            </a:lvl1pPr>
          </a:lstStyle>
          <a:p>
            <a:pPr lvl="0"/>
            <a:r>
              <a:rPr lang="en-US"/>
              <a:t>Click to edit Name o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FE3FAE-C8B8-455E-8BE0-525D37C196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44775" y="4082583"/>
            <a:ext cx="10986296" cy="443198"/>
          </a:xfrm>
        </p:spPr>
        <p:txBody>
          <a:bodyPr vert="horz" wrap="square" lIns="0" tIns="0" rIns="0" bIns="0" rtlCol="0">
            <a:spAutoFit/>
          </a:bodyPr>
          <a:lstStyle>
            <a:lvl1pPr marL="27432" indent="0">
              <a:spcBef>
                <a:spcPts val="0"/>
              </a:spcBef>
              <a:buNone/>
              <a:defRPr lang="en-US" sz="3200" dirty="0">
                <a:solidFill>
                  <a:schemeClr val="accent1"/>
                </a:solidFill>
              </a:defRPr>
            </a:lvl1pPr>
          </a:lstStyle>
          <a:p>
            <a:pPr marL="484632" lvl="0" indent="-457200"/>
            <a:r>
              <a:rPr lang="en-US"/>
              <a:t>Click to edit Sub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C8E2C0F-ECA0-4807-B00F-78E70D4F1B4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57942" y="313144"/>
            <a:ext cx="1229707" cy="1055281"/>
            <a:chOff x="874713" y="2133600"/>
            <a:chExt cx="12747625" cy="10939463"/>
          </a:xfrm>
          <a:solidFill>
            <a:schemeClr val="tx1"/>
          </a:solidFill>
        </p:grpSpPr>
        <p:sp>
          <p:nvSpPr>
            <p:cNvPr id="14" name="AutoShape 31">
              <a:extLst>
                <a:ext uri="{FF2B5EF4-FFF2-40B4-BE49-F238E27FC236}">
                  <a16:creationId xmlns:a16="http://schemas.microsoft.com/office/drawing/2014/main" id="{3A2C9544-B5F6-44D1-A739-F3B6866CD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100" y="2159000"/>
              <a:ext cx="1309688" cy="20066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8788" y="0"/>
                  </a:lnTo>
                  <a:lnTo>
                    <a:pt x="8788" y="17159"/>
                  </a:lnTo>
                  <a:lnTo>
                    <a:pt x="21600" y="17159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" name="AutoShape 32">
              <a:extLst>
                <a:ext uri="{FF2B5EF4-FFF2-40B4-BE49-F238E27FC236}">
                  <a16:creationId xmlns:a16="http://schemas.microsoft.com/office/drawing/2014/main" id="{39C0AD25-3E15-4E5F-8632-934DF97B6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5700" y="2654300"/>
              <a:ext cx="15128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08" y="8514"/>
                  </a:moveTo>
                  <a:cubicBezTo>
                    <a:pt x="14988" y="5794"/>
                    <a:pt x="13585" y="4375"/>
                    <a:pt x="11100" y="4375"/>
                  </a:cubicBezTo>
                  <a:cubicBezTo>
                    <a:pt x="8776" y="4375"/>
                    <a:pt x="7213" y="5873"/>
                    <a:pt x="6813" y="8514"/>
                  </a:cubicBezTo>
                  <a:cubicBezTo>
                    <a:pt x="6813" y="8514"/>
                    <a:pt x="15108" y="8514"/>
                    <a:pt x="15108" y="8514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8"/>
                    <a:pt x="4849" y="0"/>
                    <a:pt x="11100" y="0"/>
                  </a:cubicBezTo>
                  <a:cubicBezTo>
                    <a:pt x="16711" y="0"/>
                    <a:pt x="21600" y="3153"/>
                    <a:pt x="21600" y="10563"/>
                  </a:cubicBezTo>
                  <a:lnTo>
                    <a:pt x="21600" y="12337"/>
                  </a:lnTo>
                  <a:lnTo>
                    <a:pt x="6732" y="12337"/>
                  </a:lnTo>
                  <a:cubicBezTo>
                    <a:pt x="6933" y="15293"/>
                    <a:pt x="8616" y="17028"/>
                    <a:pt x="11421" y="17028"/>
                  </a:cubicBezTo>
                  <a:cubicBezTo>
                    <a:pt x="13906" y="17028"/>
                    <a:pt x="15028" y="15964"/>
                    <a:pt x="15308" y="14426"/>
                  </a:cubicBezTo>
                  <a:lnTo>
                    <a:pt x="21600" y="14426"/>
                  </a:lnTo>
                  <a:cubicBezTo>
                    <a:pt x="20919" y="18998"/>
                    <a:pt x="17312" y="21600"/>
                    <a:pt x="11181" y="21600"/>
                  </a:cubicBezTo>
                  <a:cubicBezTo>
                    <a:pt x="4729" y="21600"/>
                    <a:pt x="0" y="17737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" name="AutoShape 33">
              <a:extLst>
                <a:ext uri="{FF2B5EF4-FFF2-40B4-BE49-F238E27FC236}">
                  <a16:creationId xmlns:a16="http://schemas.microsoft.com/office/drawing/2014/main" id="{D82991FA-1A0F-4FF4-A1EB-32AB6FEDC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400" y="23876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" name="AutoShape 34">
              <a:extLst>
                <a:ext uri="{FF2B5EF4-FFF2-40B4-BE49-F238E27FC236}">
                  <a16:creationId xmlns:a16="http://schemas.microsoft.com/office/drawing/2014/main" id="{B8E9BDF1-2AD5-41B9-A5FB-BF49EA7FC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2133600"/>
              <a:ext cx="512763" cy="800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4" y="16598"/>
                  </a:moveTo>
                  <a:cubicBezTo>
                    <a:pt x="6374" y="15764"/>
                    <a:pt x="8852" y="13642"/>
                    <a:pt x="9442" y="11748"/>
                  </a:cubicBezTo>
                  <a:cubicBezTo>
                    <a:pt x="3423" y="11520"/>
                    <a:pt x="0" y="9322"/>
                    <a:pt x="0" y="5911"/>
                  </a:cubicBezTo>
                  <a:cubicBezTo>
                    <a:pt x="0" y="2197"/>
                    <a:pt x="4721" y="0"/>
                    <a:pt x="10387" y="0"/>
                  </a:cubicBezTo>
                  <a:cubicBezTo>
                    <a:pt x="16879" y="0"/>
                    <a:pt x="21600" y="2956"/>
                    <a:pt x="21600" y="7655"/>
                  </a:cubicBezTo>
                  <a:lnTo>
                    <a:pt x="21600" y="8186"/>
                  </a:lnTo>
                  <a:cubicBezTo>
                    <a:pt x="21600" y="14855"/>
                    <a:pt x="14636" y="20236"/>
                    <a:pt x="944" y="21600"/>
                  </a:cubicBezTo>
                  <a:cubicBezTo>
                    <a:pt x="944" y="21600"/>
                    <a:pt x="944" y="16598"/>
                    <a:pt x="944" y="16598"/>
                  </a:cubicBezTo>
                  <a:close/>
                  <a:moveTo>
                    <a:pt x="944" y="1659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" name="AutoShape 35">
              <a:extLst>
                <a:ext uri="{FF2B5EF4-FFF2-40B4-BE49-F238E27FC236}">
                  <a16:creationId xmlns:a16="http://schemas.microsoft.com/office/drawing/2014/main" id="{CCE48EE1-A0AD-43F9-B1A6-7A2043E41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1800" y="26543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8"/>
                    <a:pt x="9482" y="13165"/>
                  </a:cubicBezTo>
                  <a:cubicBezTo>
                    <a:pt x="3053" y="12416"/>
                    <a:pt x="370" y="10839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6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1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" name="AutoShape 36">
              <a:extLst>
                <a:ext uri="{FF2B5EF4-FFF2-40B4-BE49-F238E27FC236}">
                  <a16:creationId xmlns:a16="http://schemas.microsoft.com/office/drawing/2014/main" id="{C2E65EF5-BC07-4391-86E5-301CD9047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400" y="51943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" name="AutoShape 37">
              <a:extLst>
                <a:ext uri="{FF2B5EF4-FFF2-40B4-BE49-F238E27FC236}">
                  <a16:creationId xmlns:a16="http://schemas.microsoft.com/office/drawing/2014/main" id="{EDBE9A70-8C9B-47D8-AE51-DD9F2DBED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700" y="54610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4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89"/>
                    <a:pt x="7185" y="13598"/>
                    <a:pt x="7185" y="15136"/>
                  </a:cubicBezTo>
                  <a:cubicBezTo>
                    <a:pt x="7185" y="16358"/>
                    <a:pt x="8018" y="17185"/>
                    <a:pt x="10077" y="17185"/>
                  </a:cubicBezTo>
                  <a:cubicBezTo>
                    <a:pt x="12531" y="17185"/>
                    <a:pt x="14414" y="15885"/>
                    <a:pt x="14414" y="13874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6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" name="AutoShape 38">
              <a:extLst>
                <a:ext uri="{FF2B5EF4-FFF2-40B4-BE49-F238E27FC236}">
                  <a16:creationId xmlns:a16="http://schemas.microsoft.com/office/drawing/2014/main" id="{99DB4D65-C1B7-4A9B-B42A-3CC713613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0" y="4902200"/>
              <a:ext cx="461963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" name="AutoShape 39">
              <a:extLst>
                <a:ext uri="{FF2B5EF4-FFF2-40B4-BE49-F238E27FC236}">
                  <a16:creationId xmlns:a16="http://schemas.microsoft.com/office/drawing/2014/main" id="{2F7D8AB1-1210-4347-A589-CB3DCD71D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9100" y="4902200"/>
              <a:ext cx="1419225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7086" y="0"/>
                  </a:lnTo>
                  <a:lnTo>
                    <a:pt x="7086" y="12461"/>
                  </a:lnTo>
                  <a:lnTo>
                    <a:pt x="13532" y="6230"/>
                  </a:lnTo>
                  <a:lnTo>
                    <a:pt x="20960" y="6230"/>
                  </a:lnTo>
                  <a:lnTo>
                    <a:pt x="13319" y="13166"/>
                  </a:lnTo>
                  <a:lnTo>
                    <a:pt x="21600" y="21600"/>
                  </a:lnTo>
                  <a:lnTo>
                    <a:pt x="13617" y="21600"/>
                  </a:lnTo>
                  <a:lnTo>
                    <a:pt x="7086" y="14694"/>
                  </a:lnTo>
                  <a:lnTo>
                    <a:pt x="7086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" name="AutoShape 40">
              <a:extLst>
                <a:ext uri="{FF2B5EF4-FFF2-40B4-BE49-F238E27FC236}">
                  <a16:creationId xmlns:a16="http://schemas.microsoft.com/office/drawing/2014/main" id="{2614580D-E835-453E-A2BE-5C799065F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6800" y="54610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4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89"/>
                    <a:pt x="7185" y="13598"/>
                    <a:pt x="7185" y="15136"/>
                  </a:cubicBezTo>
                  <a:cubicBezTo>
                    <a:pt x="7185" y="16358"/>
                    <a:pt x="8018" y="17185"/>
                    <a:pt x="10077" y="17185"/>
                  </a:cubicBezTo>
                  <a:cubicBezTo>
                    <a:pt x="12531" y="17185"/>
                    <a:pt x="14414" y="15885"/>
                    <a:pt x="14414" y="13874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6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" name="AutoShape 41">
              <a:extLst>
                <a:ext uri="{FF2B5EF4-FFF2-40B4-BE49-F238E27FC236}">
                  <a16:creationId xmlns:a16="http://schemas.microsoft.com/office/drawing/2014/main" id="{F469955A-20E0-4748-ADAC-3EF83696B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000" y="4902200"/>
              <a:ext cx="1554163" cy="20970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13793"/>
                  </a:moveTo>
                  <a:lnTo>
                    <a:pt x="15011" y="13561"/>
                  </a:lnTo>
                  <a:cubicBezTo>
                    <a:pt x="15011" y="10757"/>
                    <a:pt x="13295" y="9398"/>
                    <a:pt x="10683" y="9398"/>
                  </a:cubicBezTo>
                  <a:cubicBezTo>
                    <a:pt x="7993" y="9398"/>
                    <a:pt x="6277" y="10814"/>
                    <a:pt x="6277" y="13533"/>
                  </a:cubicBezTo>
                  <a:lnTo>
                    <a:pt x="6277" y="13764"/>
                  </a:lnTo>
                  <a:cubicBezTo>
                    <a:pt x="6277" y="16511"/>
                    <a:pt x="7993" y="17899"/>
                    <a:pt x="10722" y="17899"/>
                  </a:cubicBezTo>
                  <a:cubicBezTo>
                    <a:pt x="13529" y="17899"/>
                    <a:pt x="15011" y="16453"/>
                    <a:pt x="15011" y="13793"/>
                  </a:cubicBezTo>
                  <a:close/>
                  <a:moveTo>
                    <a:pt x="6472" y="18882"/>
                  </a:moveTo>
                  <a:lnTo>
                    <a:pt x="6472" y="21253"/>
                  </a:lnTo>
                  <a:lnTo>
                    <a:pt x="0" y="21253"/>
                  </a:lnTo>
                  <a:lnTo>
                    <a:pt x="0" y="0"/>
                  </a:lnTo>
                  <a:lnTo>
                    <a:pt x="6472" y="0"/>
                  </a:lnTo>
                  <a:lnTo>
                    <a:pt x="6472" y="8415"/>
                  </a:lnTo>
                  <a:cubicBezTo>
                    <a:pt x="7642" y="6969"/>
                    <a:pt x="9825" y="5754"/>
                    <a:pt x="12906" y="5754"/>
                  </a:cubicBezTo>
                  <a:cubicBezTo>
                    <a:pt x="17740" y="5754"/>
                    <a:pt x="21600" y="8443"/>
                    <a:pt x="21600" y="13561"/>
                  </a:cubicBezTo>
                  <a:lnTo>
                    <a:pt x="21600" y="13793"/>
                  </a:lnTo>
                  <a:cubicBezTo>
                    <a:pt x="21600" y="18911"/>
                    <a:pt x="17779" y="21600"/>
                    <a:pt x="12866" y="21600"/>
                  </a:cubicBezTo>
                  <a:cubicBezTo>
                    <a:pt x="9786" y="21600"/>
                    <a:pt x="7525" y="20501"/>
                    <a:pt x="6472" y="18882"/>
                  </a:cubicBezTo>
                  <a:close/>
                  <a:moveTo>
                    <a:pt x="6472" y="1888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" name="AutoShape 42">
              <a:extLst>
                <a:ext uri="{FF2B5EF4-FFF2-40B4-BE49-F238E27FC236}">
                  <a16:creationId xmlns:a16="http://schemas.microsoft.com/office/drawing/2014/main" id="{896D7F85-6DE4-481F-9655-AD4EE789C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8000" y="5461000"/>
              <a:ext cx="158273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28" y="10958"/>
                  </a:moveTo>
                  <a:lnTo>
                    <a:pt x="15128" y="10642"/>
                  </a:lnTo>
                  <a:cubicBezTo>
                    <a:pt x="15128" y="7016"/>
                    <a:pt x="13596" y="4927"/>
                    <a:pt x="10838" y="4927"/>
                  </a:cubicBezTo>
                  <a:cubicBezTo>
                    <a:pt x="8042" y="4927"/>
                    <a:pt x="6472" y="6937"/>
                    <a:pt x="6472" y="10563"/>
                  </a:cubicBezTo>
                  <a:lnTo>
                    <a:pt x="6472" y="10879"/>
                  </a:lnTo>
                  <a:cubicBezTo>
                    <a:pt x="6472" y="14584"/>
                    <a:pt x="8004" y="16673"/>
                    <a:pt x="10838" y="16673"/>
                  </a:cubicBezTo>
                  <a:cubicBezTo>
                    <a:pt x="13596" y="16673"/>
                    <a:pt x="15128" y="14544"/>
                    <a:pt x="15128" y="10958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8"/>
                    <a:pt x="4672" y="0"/>
                    <a:pt x="10838" y="0"/>
                  </a:cubicBezTo>
                  <a:cubicBezTo>
                    <a:pt x="16927" y="0"/>
                    <a:pt x="21600" y="4060"/>
                    <a:pt x="21600" y="10563"/>
                  </a:cubicBezTo>
                  <a:lnTo>
                    <a:pt x="21600" y="10879"/>
                  </a:lnTo>
                  <a:cubicBezTo>
                    <a:pt x="21600" y="17540"/>
                    <a:pt x="16889" y="21600"/>
                    <a:pt x="10800" y="21600"/>
                  </a:cubicBezTo>
                  <a:cubicBezTo>
                    <a:pt x="4672" y="21600"/>
                    <a:pt x="0" y="17658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" name="AutoShape 43">
              <a:extLst>
                <a:ext uri="{FF2B5EF4-FFF2-40B4-BE49-F238E27FC236}">
                  <a16:creationId xmlns:a16="http://schemas.microsoft.com/office/drawing/2014/main" id="{3FBDD8C8-2A2C-488B-B85D-B255B1F2F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25200" y="5499100"/>
              <a:ext cx="1428750" cy="15017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3727"/>
                  </a:moveTo>
                  <a:lnTo>
                    <a:pt x="0" y="0"/>
                  </a:lnTo>
                  <a:lnTo>
                    <a:pt x="7045" y="0"/>
                  </a:lnTo>
                  <a:lnTo>
                    <a:pt x="7045" y="12677"/>
                  </a:lnTo>
                  <a:cubicBezTo>
                    <a:pt x="7045" y="15261"/>
                    <a:pt x="8105" y="16472"/>
                    <a:pt x="10439" y="16472"/>
                  </a:cubicBezTo>
                  <a:cubicBezTo>
                    <a:pt x="12858" y="16472"/>
                    <a:pt x="14556" y="15100"/>
                    <a:pt x="14556" y="12233"/>
                  </a:cubicBezTo>
                  <a:lnTo>
                    <a:pt x="14556" y="0"/>
                  </a:lnTo>
                  <a:lnTo>
                    <a:pt x="21600" y="0"/>
                  </a:lnTo>
                  <a:lnTo>
                    <a:pt x="21600" y="21115"/>
                  </a:lnTo>
                  <a:lnTo>
                    <a:pt x="14556" y="21115"/>
                  </a:lnTo>
                  <a:lnTo>
                    <a:pt x="14556" y="17845"/>
                  </a:lnTo>
                  <a:cubicBezTo>
                    <a:pt x="13367" y="19985"/>
                    <a:pt x="11161" y="21600"/>
                    <a:pt x="7511" y="21600"/>
                  </a:cubicBezTo>
                  <a:cubicBezTo>
                    <a:pt x="3183" y="21600"/>
                    <a:pt x="0" y="19097"/>
                    <a:pt x="0" y="13727"/>
                  </a:cubicBezTo>
                  <a:close/>
                  <a:moveTo>
                    <a:pt x="0" y="13727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" name="AutoShape 44">
              <a:extLst>
                <a:ext uri="{FF2B5EF4-FFF2-40B4-BE49-F238E27FC236}">
                  <a16:creationId xmlns:a16="http://schemas.microsoft.com/office/drawing/2014/main" id="{7AE7B988-F203-4B08-83EC-A7E857709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74600" y="51943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" name="AutoShape 45">
              <a:extLst>
                <a:ext uri="{FF2B5EF4-FFF2-40B4-BE49-F238E27FC236}">
                  <a16:creationId xmlns:a16="http://schemas.microsoft.com/office/drawing/2014/main" id="{72594E18-1279-41D8-AE1A-58B03F205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713" y="8305800"/>
              <a:ext cx="2292350" cy="14684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4606" y="0"/>
                  </a:lnTo>
                  <a:lnTo>
                    <a:pt x="6803" y="13546"/>
                  </a:lnTo>
                  <a:lnTo>
                    <a:pt x="9265" y="0"/>
                  </a:lnTo>
                  <a:lnTo>
                    <a:pt x="12812" y="0"/>
                  </a:lnTo>
                  <a:lnTo>
                    <a:pt x="15035" y="13546"/>
                  </a:lnTo>
                  <a:lnTo>
                    <a:pt x="17418" y="0"/>
                  </a:lnTo>
                  <a:lnTo>
                    <a:pt x="21600" y="0"/>
                  </a:lnTo>
                  <a:lnTo>
                    <a:pt x="17232" y="21600"/>
                  </a:lnTo>
                  <a:lnTo>
                    <a:pt x="12970" y="21600"/>
                  </a:lnTo>
                  <a:lnTo>
                    <a:pt x="10800" y="8962"/>
                  </a:lnTo>
                  <a:lnTo>
                    <a:pt x="8524" y="21600"/>
                  </a:lnTo>
                  <a:lnTo>
                    <a:pt x="4209" y="21600"/>
                  </a:lnTo>
                  <a:cubicBezTo>
                    <a:pt x="4209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" name="AutoShape 46">
              <a:extLst>
                <a:ext uri="{FF2B5EF4-FFF2-40B4-BE49-F238E27FC236}">
                  <a16:creationId xmlns:a16="http://schemas.microsoft.com/office/drawing/2014/main" id="{0F80056F-20B8-4658-8FCA-40C936DB2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7708900"/>
              <a:ext cx="1433512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7030" y="0"/>
                  </a:lnTo>
                  <a:lnTo>
                    <a:pt x="7030" y="8699"/>
                  </a:lnTo>
                  <a:cubicBezTo>
                    <a:pt x="8174" y="7141"/>
                    <a:pt x="10631" y="5848"/>
                    <a:pt x="14273" y="5848"/>
                  </a:cubicBezTo>
                  <a:cubicBezTo>
                    <a:pt x="18593" y="5848"/>
                    <a:pt x="21600" y="7670"/>
                    <a:pt x="21600" y="11696"/>
                  </a:cubicBezTo>
                  <a:lnTo>
                    <a:pt x="21600" y="21600"/>
                  </a:lnTo>
                  <a:lnTo>
                    <a:pt x="14570" y="21600"/>
                  </a:lnTo>
                  <a:lnTo>
                    <a:pt x="14570" y="12578"/>
                  </a:lnTo>
                  <a:cubicBezTo>
                    <a:pt x="14570" y="10697"/>
                    <a:pt x="13511" y="9816"/>
                    <a:pt x="11139" y="9816"/>
                  </a:cubicBezTo>
                  <a:cubicBezTo>
                    <a:pt x="8767" y="9816"/>
                    <a:pt x="7030" y="10815"/>
                    <a:pt x="7030" y="12901"/>
                  </a:cubicBezTo>
                  <a:lnTo>
                    <a:pt x="703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" name="AutoShape 47">
              <a:extLst>
                <a:ext uri="{FF2B5EF4-FFF2-40B4-BE49-F238E27FC236}">
                  <a16:creationId xmlns:a16="http://schemas.microsoft.com/office/drawing/2014/main" id="{6B564E43-D579-44FC-B952-3785D55B5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6000" y="82677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5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90"/>
                    <a:pt x="7185" y="13599"/>
                    <a:pt x="7185" y="15136"/>
                  </a:cubicBezTo>
                  <a:cubicBezTo>
                    <a:pt x="7185" y="16358"/>
                    <a:pt x="8018" y="17186"/>
                    <a:pt x="10077" y="17186"/>
                  </a:cubicBezTo>
                  <a:cubicBezTo>
                    <a:pt x="12531" y="17186"/>
                    <a:pt x="14414" y="15885"/>
                    <a:pt x="14414" y="13875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7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" name="AutoShape 48">
              <a:extLst>
                <a:ext uri="{FF2B5EF4-FFF2-40B4-BE49-F238E27FC236}">
                  <a16:creationId xmlns:a16="http://schemas.microsoft.com/office/drawing/2014/main" id="{37752E04-17F0-45AA-80CE-CC279998A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500" y="80010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8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0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9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" name="AutoShape 49">
              <a:extLst>
                <a:ext uri="{FF2B5EF4-FFF2-40B4-BE49-F238E27FC236}">
                  <a16:creationId xmlns:a16="http://schemas.microsoft.com/office/drawing/2014/main" id="{50C55E8A-1411-4E25-8E7D-F5F8F968A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0" y="7747000"/>
              <a:ext cx="512763" cy="800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4" y="16598"/>
                  </a:moveTo>
                  <a:cubicBezTo>
                    <a:pt x="6374" y="15764"/>
                    <a:pt x="8852" y="13642"/>
                    <a:pt x="9442" y="11748"/>
                  </a:cubicBezTo>
                  <a:cubicBezTo>
                    <a:pt x="3423" y="11520"/>
                    <a:pt x="0" y="9322"/>
                    <a:pt x="0" y="5911"/>
                  </a:cubicBezTo>
                  <a:cubicBezTo>
                    <a:pt x="0" y="2197"/>
                    <a:pt x="4721" y="0"/>
                    <a:pt x="10387" y="0"/>
                  </a:cubicBezTo>
                  <a:cubicBezTo>
                    <a:pt x="16879" y="0"/>
                    <a:pt x="21600" y="2956"/>
                    <a:pt x="21600" y="7655"/>
                  </a:cubicBezTo>
                  <a:lnTo>
                    <a:pt x="21600" y="8186"/>
                  </a:lnTo>
                  <a:cubicBezTo>
                    <a:pt x="21600" y="14855"/>
                    <a:pt x="14636" y="20236"/>
                    <a:pt x="944" y="21600"/>
                  </a:cubicBezTo>
                  <a:cubicBezTo>
                    <a:pt x="944" y="21600"/>
                    <a:pt x="944" y="16598"/>
                    <a:pt x="944" y="16598"/>
                  </a:cubicBezTo>
                  <a:close/>
                  <a:moveTo>
                    <a:pt x="944" y="1659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" name="AutoShape 50">
              <a:extLst>
                <a:ext uri="{FF2B5EF4-FFF2-40B4-BE49-F238E27FC236}">
                  <a16:creationId xmlns:a16="http://schemas.microsoft.com/office/drawing/2014/main" id="{9A355702-F22F-46CE-BF5E-86EAA7587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8600" y="82677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6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1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" name="AutoShape 51">
              <a:extLst>
                <a:ext uri="{FF2B5EF4-FFF2-40B4-BE49-F238E27FC236}">
                  <a16:creationId xmlns:a16="http://schemas.microsoft.com/office/drawing/2014/main" id="{C3791F09-B6CD-4F48-A889-8509A0F85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11074400"/>
              <a:ext cx="1554163" cy="19986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8434"/>
                  </a:moveTo>
                  <a:lnTo>
                    <a:pt x="15011" y="8191"/>
                  </a:lnTo>
                  <a:cubicBezTo>
                    <a:pt x="15011" y="5248"/>
                    <a:pt x="13296" y="3823"/>
                    <a:pt x="10683" y="3823"/>
                  </a:cubicBezTo>
                  <a:cubicBezTo>
                    <a:pt x="7993" y="3823"/>
                    <a:pt x="6277" y="5309"/>
                    <a:pt x="6277" y="8161"/>
                  </a:cubicBezTo>
                  <a:lnTo>
                    <a:pt x="6277" y="8403"/>
                  </a:lnTo>
                  <a:cubicBezTo>
                    <a:pt x="6277" y="11286"/>
                    <a:pt x="7993" y="12741"/>
                    <a:pt x="10722" y="12741"/>
                  </a:cubicBezTo>
                  <a:cubicBezTo>
                    <a:pt x="13529" y="12741"/>
                    <a:pt x="15011" y="11225"/>
                    <a:pt x="15011" y="8434"/>
                  </a:cubicBezTo>
                  <a:close/>
                  <a:moveTo>
                    <a:pt x="0" y="395"/>
                  </a:moveTo>
                  <a:lnTo>
                    <a:pt x="6472" y="395"/>
                  </a:lnTo>
                  <a:lnTo>
                    <a:pt x="6472" y="2791"/>
                  </a:lnTo>
                  <a:cubicBezTo>
                    <a:pt x="7642" y="1274"/>
                    <a:pt x="9825" y="0"/>
                    <a:pt x="12906" y="0"/>
                  </a:cubicBezTo>
                  <a:cubicBezTo>
                    <a:pt x="17740" y="0"/>
                    <a:pt x="21600" y="2821"/>
                    <a:pt x="21600" y="8191"/>
                  </a:cubicBezTo>
                  <a:lnTo>
                    <a:pt x="21600" y="8434"/>
                  </a:lnTo>
                  <a:cubicBezTo>
                    <a:pt x="21600" y="13804"/>
                    <a:pt x="17779" y="16624"/>
                    <a:pt x="12866" y="16624"/>
                  </a:cubicBezTo>
                  <a:cubicBezTo>
                    <a:pt x="9747" y="16624"/>
                    <a:pt x="7525" y="15472"/>
                    <a:pt x="6472" y="13894"/>
                  </a:cubicBezTo>
                  <a:lnTo>
                    <a:pt x="6472" y="21600"/>
                  </a:lnTo>
                  <a:lnTo>
                    <a:pt x="0" y="21600"/>
                  </a:lnTo>
                  <a:cubicBezTo>
                    <a:pt x="0" y="21600"/>
                    <a:pt x="0" y="395"/>
                    <a:pt x="0" y="395"/>
                  </a:cubicBezTo>
                  <a:close/>
                  <a:moveTo>
                    <a:pt x="0" y="39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" name="AutoShape 52">
              <a:extLst>
                <a:ext uri="{FF2B5EF4-FFF2-40B4-BE49-F238E27FC236}">
                  <a16:creationId xmlns:a16="http://schemas.microsoft.com/office/drawing/2014/main" id="{2E28320E-39D0-483C-B08D-791A2E887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300" y="11074400"/>
              <a:ext cx="158273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28" y="10958"/>
                  </a:moveTo>
                  <a:lnTo>
                    <a:pt x="15128" y="10643"/>
                  </a:lnTo>
                  <a:cubicBezTo>
                    <a:pt x="15128" y="7016"/>
                    <a:pt x="13596" y="4928"/>
                    <a:pt x="10838" y="4928"/>
                  </a:cubicBezTo>
                  <a:cubicBezTo>
                    <a:pt x="8042" y="4928"/>
                    <a:pt x="6472" y="6937"/>
                    <a:pt x="6472" y="10564"/>
                  </a:cubicBezTo>
                  <a:lnTo>
                    <a:pt x="6472" y="10879"/>
                  </a:lnTo>
                  <a:cubicBezTo>
                    <a:pt x="6472" y="14584"/>
                    <a:pt x="8004" y="16673"/>
                    <a:pt x="10838" y="16673"/>
                  </a:cubicBezTo>
                  <a:cubicBezTo>
                    <a:pt x="13596" y="16673"/>
                    <a:pt x="15128" y="14545"/>
                    <a:pt x="15128" y="10958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9"/>
                    <a:pt x="4672" y="0"/>
                    <a:pt x="10838" y="0"/>
                  </a:cubicBezTo>
                  <a:cubicBezTo>
                    <a:pt x="16927" y="0"/>
                    <a:pt x="21600" y="4060"/>
                    <a:pt x="21600" y="10564"/>
                  </a:cubicBezTo>
                  <a:lnTo>
                    <a:pt x="21600" y="10879"/>
                  </a:lnTo>
                  <a:cubicBezTo>
                    <a:pt x="21600" y="17541"/>
                    <a:pt x="16889" y="21600"/>
                    <a:pt x="10800" y="21600"/>
                  </a:cubicBezTo>
                  <a:cubicBezTo>
                    <a:pt x="4672" y="21600"/>
                    <a:pt x="0" y="17659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" name="AutoShape 53">
              <a:extLst>
                <a:ext uri="{FF2B5EF4-FFF2-40B4-BE49-F238E27FC236}">
                  <a16:creationId xmlns:a16="http://schemas.microsoft.com/office/drawing/2014/main" id="{AE52347F-2AAD-4830-8501-138B095AC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0" y="110744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7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2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" name="AutoShape 54">
              <a:extLst>
                <a:ext uri="{FF2B5EF4-FFF2-40B4-BE49-F238E27FC236}">
                  <a16:creationId xmlns:a16="http://schemas.microsoft.com/office/drawing/2014/main" id="{ED8C7A6B-BB0B-4719-A3E6-1F80FA551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9600" y="110744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7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2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" name="AutoShape 55">
              <a:extLst>
                <a:ext uri="{FF2B5EF4-FFF2-40B4-BE49-F238E27FC236}">
                  <a16:creationId xmlns:a16="http://schemas.microsoft.com/office/drawing/2014/main" id="{CEC9E09E-089E-495F-882E-8CD32ACC4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4700" y="10502900"/>
              <a:ext cx="519113" cy="20764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68" y="6334"/>
                  </a:moveTo>
                  <a:lnTo>
                    <a:pt x="20550" y="6334"/>
                  </a:lnTo>
                  <a:lnTo>
                    <a:pt x="20550" y="21600"/>
                  </a:lnTo>
                  <a:lnTo>
                    <a:pt x="1168" y="21600"/>
                  </a:lnTo>
                  <a:cubicBezTo>
                    <a:pt x="1168" y="21600"/>
                    <a:pt x="1168" y="6334"/>
                    <a:pt x="1168" y="6334"/>
                  </a:cubicBezTo>
                  <a:close/>
                  <a:moveTo>
                    <a:pt x="0" y="2569"/>
                  </a:moveTo>
                  <a:cubicBezTo>
                    <a:pt x="0" y="1109"/>
                    <a:pt x="4670" y="0"/>
                    <a:pt x="10741" y="0"/>
                  </a:cubicBezTo>
                  <a:cubicBezTo>
                    <a:pt x="16814" y="0"/>
                    <a:pt x="21600" y="1109"/>
                    <a:pt x="21600" y="2569"/>
                  </a:cubicBezTo>
                  <a:cubicBezTo>
                    <a:pt x="21600" y="4028"/>
                    <a:pt x="16814" y="5108"/>
                    <a:pt x="10741" y="5108"/>
                  </a:cubicBezTo>
                  <a:cubicBezTo>
                    <a:pt x="4670" y="5108"/>
                    <a:pt x="0" y="4028"/>
                    <a:pt x="0" y="2569"/>
                  </a:cubicBezTo>
                  <a:close/>
                  <a:moveTo>
                    <a:pt x="0" y="256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" name="AutoShape 56">
              <a:extLst>
                <a:ext uri="{FF2B5EF4-FFF2-40B4-BE49-F238E27FC236}">
                  <a16:creationId xmlns:a16="http://schemas.microsoft.com/office/drawing/2014/main" id="{76EEB1E9-F835-481F-9170-45BFAE382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8600" y="10515600"/>
              <a:ext cx="1554163" cy="20970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13793"/>
                  </a:moveTo>
                  <a:lnTo>
                    <a:pt x="15011" y="13562"/>
                  </a:lnTo>
                  <a:cubicBezTo>
                    <a:pt x="15011" y="10757"/>
                    <a:pt x="13295" y="9398"/>
                    <a:pt x="10683" y="9398"/>
                  </a:cubicBezTo>
                  <a:cubicBezTo>
                    <a:pt x="7993" y="9398"/>
                    <a:pt x="6277" y="10815"/>
                    <a:pt x="6277" y="13533"/>
                  </a:cubicBezTo>
                  <a:lnTo>
                    <a:pt x="6277" y="13764"/>
                  </a:lnTo>
                  <a:cubicBezTo>
                    <a:pt x="6277" y="16511"/>
                    <a:pt x="7993" y="17899"/>
                    <a:pt x="10722" y="17899"/>
                  </a:cubicBezTo>
                  <a:cubicBezTo>
                    <a:pt x="13529" y="17899"/>
                    <a:pt x="15011" y="16453"/>
                    <a:pt x="15011" y="13793"/>
                  </a:cubicBezTo>
                  <a:close/>
                  <a:moveTo>
                    <a:pt x="6472" y="18882"/>
                  </a:moveTo>
                  <a:lnTo>
                    <a:pt x="6472" y="21253"/>
                  </a:lnTo>
                  <a:lnTo>
                    <a:pt x="0" y="21253"/>
                  </a:lnTo>
                  <a:lnTo>
                    <a:pt x="0" y="0"/>
                  </a:lnTo>
                  <a:lnTo>
                    <a:pt x="6472" y="0"/>
                  </a:lnTo>
                  <a:lnTo>
                    <a:pt x="6472" y="8415"/>
                  </a:lnTo>
                  <a:cubicBezTo>
                    <a:pt x="7642" y="6969"/>
                    <a:pt x="9825" y="5754"/>
                    <a:pt x="12906" y="5754"/>
                  </a:cubicBezTo>
                  <a:cubicBezTo>
                    <a:pt x="17740" y="5754"/>
                    <a:pt x="21600" y="8443"/>
                    <a:pt x="21600" y="13562"/>
                  </a:cubicBezTo>
                  <a:lnTo>
                    <a:pt x="21600" y="13793"/>
                  </a:lnTo>
                  <a:cubicBezTo>
                    <a:pt x="21600" y="18911"/>
                    <a:pt x="17779" y="21600"/>
                    <a:pt x="12866" y="21600"/>
                  </a:cubicBezTo>
                  <a:cubicBezTo>
                    <a:pt x="9786" y="21600"/>
                    <a:pt x="7525" y="20502"/>
                    <a:pt x="6472" y="18882"/>
                  </a:cubicBezTo>
                  <a:close/>
                  <a:moveTo>
                    <a:pt x="6472" y="1888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" name="AutoShape 57">
              <a:extLst>
                <a:ext uri="{FF2B5EF4-FFF2-40B4-BE49-F238E27FC236}">
                  <a16:creationId xmlns:a16="http://schemas.microsoft.com/office/drawing/2014/main" id="{1FA17B61-02F5-4843-A14A-D33719E5C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5800" y="10515600"/>
              <a:ext cx="461963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" name="AutoShape 58">
              <a:extLst>
                <a:ext uri="{FF2B5EF4-FFF2-40B4-BE49-F238E27FC236}">
                  <a16:creationId xmlns:a16="http://schemas.microsoft.com/office/drawing/2014/main" id="{D7AF6792-2F4E-48DF-B827-190D9D1EE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8100" y="11074400"/>
              <a:ext cx="15128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08" y="8514"/>
                  </a:moveTo>
                  <a:cubicBezTo>
                    <a:pt x="14988" y="5794"/>
                    <a:pt x="13585" y="4376"/>
                    <a:pt x="11100" y="4376"/>
                  </a:cubicBezTo>
                  <a:cubicBezTo>
                    <a:pt x="8776" y="4376"/>
                    <a:pt x="7213" y="5873"/>
                    <a:pt x="6813" y="8514"/>
                  </a:cubicBezTo>
                  <a:cubicBezTo>
                    <a:pt x="6813" y="8514"/>
                    <a:pt x="15108" y="8514"/>
                    <a:pt x="15108" y="8514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9"/>
                    <a:pt x="4849" y="0"/>
                    <a:pt x="11100" y="0"/>
                  </a:cubicBezTo>
                  <a:cubicBezTo>
                    <a:pt x="16711" y="0"/>
                    <a:pt x="21600" y="3153"/>
                    <a:pt x="21600" y="10564"/>
                  </a:cubicBezTo>
                  <a:lnTo>
                    <a:pt x="21600" y="12338"/>
                  </a:lnTo>
                  <a:lnTo>
                    <a:pt x="6732" y="12338"/>
                  </a:lnTo>
                  <a:cubicBezTo>
                    <a:pt x="6933" y="15294"/>
                    <a:pt x="8616" y="17028"/>
                    <a:pt x="11421" y="17028"/>
                  </a:cubicBezTo>
                  <a:cubicBezTo>
                    <a:pt x="13906" y="17028"/>
                    <a:pt x="15028" y="15963"/>
                    <a:pt x="15308" y="14426"/>
                  </a:cubicBezTo>
                  <a:lnTo>
                    <a:pt x="21600" y="14426"/>
                  </a:lnTo>
                  <a:cubicBezTo>
                    <a:pt x="20919" y="18999"/>
                    <a:pt x="17312" y="21600"/>
                    <a:pt x="11181" y="21600"/>
                  </a:cubicBezTo>
                  <a:cubicBezTo>
                    <a:pt x="4729" y="21600"/>
                    <a:pt x="0" y="17738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" name="AutoShape 59">
              <a:extLst>
                <a:ext uri="{FF2B5EF4-FFF2-40B4-BE49-F238E27FC236}">
                  <a16:creationId xmlns:a16="http://schemas.microsoft.com/office/drawing/2014/main" id="{58DCE6A4-7734-42E5-9B2A-2A39F1D2C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36400" y="12077700"/>
              <a:ext cx="549275" cy="53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801"/>
                  </a:moveTo>
                  <a:cubicBezTo>
                    <a:pt x="0" y="4838"/>
                    <a:pt x="4519" y="0"/>
                    <a:pt x="10690" y="0"/>
                  </a:cubicBezTo>
                  <a:cubicBezTo>
                    <a:pt x="16972" y="0"/>
                    <a:pt x="21600" y="4838"/>
                    <a:pt x="21600" y="10801"/>
                  </a:cubicBezTo>
                  <a:cubicBezTo>
                    <a:pt x="21600" y="16762"/>
                    <a:pt x="16972" y="21600"/>
                    <a:pt x="10690" y="21600"/>
                  </a:cubicBezTo>
                  <a:cubicBezTo>
                    <a:pt x="4519" y="21600"/>
                    <a:pt x="0" y="16762"/>
                    <a:pt x="0" y="10801"/>
                  </a:cubicBezTo>
                  <a:close/>
                  <a:moveTo>
                    <a:pt x="0" y="1080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" name="AutoShape 60">
              <a:extLst>
                <a:ext uri="{FF2B5EF4-FFF2-40B4-BE49-F238E27FC236}">
                  <a16:creationId xmlns:a16="http://schemas.microsoft.com/office/drawing/2014/main" id="{B35304AA-E820-4F74-8DA7-DD0C36814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36400" y="11074400"/>
              <a:ext cx="373063" cy="1873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379" y="0"/>
                  </a:moveTo>
                  <a:lnTo>
                    <a:pt x="12973" y="0"/>
                  </a:lnTo>
                  <a:lnTo>
                    <a:pt x="16009" y="15160"/>
                  </a:lnTo>
                  <a:lnTo>
                    <a:pt x="18972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9715" y="21600"/>
                  </a:lnTo>
                  <a:lnTo>
                    <a:pt x="19715" y="4759"/>
                  </a:lnTo>
                  <a:lnTo>
                    <a:pt x="16243" y="21600"/>
                  </a:lnTo>
                  <a:lnTo>
                    <a:pt x="15604" y="21600"/>
                  </a:lnTo>
                  <a:lnTo>
                    <a:pt x="12097" y="4759"/>
                  </a:lnTo>
                  <a:lnTo>
                    <a:pt x="12097" y="21600"/>
                  </a:lnTo>
                  <a:lnTo>
                    <a:pt x="10379" y="21600"/>
                  </a:lnTo>
                  <a:cubicBezTo>
                    <a:pt x="10379" y="21600"/>
                    <a:pt x="10379" y="0"/>
                    <a:pt x="10379" y="0"/>
                  </a:cubicBezTo>
                  <a:close/>
                  <a:moveTo>
                    <a:pt x="3302" y="2953"/>
                  </a:moveTo>
                  <a:lnTo>
                    <a:pt x="0" y="2953"/>
                  </a:lnTo>
                  <a:lnTo>
                    <a:pt x="0" y="0"/>
                  </a:lnTo>
                  <a:lnTo>
                    <a:pt x="8460" y="0"/>
                  </a:lnTo>
                  <a:lnTo>
                    <a:pt x="8460" y="2953"/>
                  </a:lnTo>
                  <a:lnTo>
                    <a:pt x="5190" y="2953"/>
                  </a:lnTo>
                  <a:lnTo>
                    <a:pt x="5190" y="21600"/>
                  </a:lnTo>
                  <a:lnTo>
                    <a:pt x="3302" y="21600"/>
                  </a:lnTo>
                  <a:cubicBezTo>
                    <a:pt x="3302" y="21600"/>
                    <a:pt x="3302" y="2953"/>
                    <a:pt x="3302" y="2953"/>
                  </a:cubicBezTo>
                  <a:close/>
                  <a:moveTo>
                    <a:pt x="3302" y="295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EA166A3-BDB1-4B4C-A691-0975E59F913D}"/>
              </a:ext>
            </a:extLst>
          </p:cNvPr>
          <p:cNvCxnSpPr>
            <a:cxnSpLocks/>
          </p:cNvCxnSpPr>
          <p:nvPr userDrawn="1"/>
        </p:nvCxnSpPr>
        <p:spPr>
          <a:xfrm>
            <a:off x="202791" y="6584457"/>
            <a:ext cx="1181013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ooter Placeholder 50">
            <a:extLst>
              <a:ext uri="{FF2B5EF4-FFF2-40B4-BE49-F238E27FC236}">
                <a16:creationId xmlns:a16="http://schemas.microsoft.com/office/drawing/2014/main" id="{BED14AAE-4404-46FE-A0CF-252B50AD30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52" name="Slide Number Placeholder 51">
            <a:extLst>
              <a:ext uri="{FF2B5EF4-FFF2-40B4-BE49-F238E27FC236}">
                <a16:creationId xmlns:a16="http://schemas.microsoft.com/office/drawing/2014/main" id="{0A6D4D00-F599-4B2E-831F-5E94FEDB3E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3D6A9FB1-A960-4D28-8782-350767C17841}"/>
              </a:ext>
            </a:extLst>
          </p:cNvPr>
          <p:cNvSpPr txBox="1">
            <a:spLocks/>
          </p:cNvSpPr>
          <p:nvPr userDrawn="1"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INTERNAL USE ONLY. DO NOT COPY, PUBLISH OR DISTRIBUTE. THE MATERIAL IN THIS DOCUMENT IS CONFIDENTIAL TO BEST BUY.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55292EAF-954B-4684-8007-01F31E05D3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1044" y="6187411"/>
            <a:ext cx="560538" cy="327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5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2CB5F4B-8A39-A61E-2032-1D76F2BA0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52518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2CB5F4B-8A39-A61E-2032-1D76F2BA0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79A1053-6076-236F-3014-CF947DC7C7EC}"/>
              </a:ext>
            </a:extLst>
          </p:cNvPr>
          <p:cNvSpPr txBox="1">
            <a:spLocks/>
          </p:cNvSpPr>
          <p:nvPr userDrawn="1"/>
        </p:nvSpPr>
        <p:spPr>
          <a:xfrm>
            <a:off x="342900" y="1371600"/>
            <a:ext cx="11524634" cy="46863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6350" lvl="0" indent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2200"/>
            </a:lvl1pPr>
            <a:lvl2pPr marL="404813" indent="-17145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SzPct val="110000"/>
              <a:buFont typeface="Human BBY Office" pitchFamily="2" charset="0"/>
              <a:buChar char="›"/>
              <a:tabLst/>
              <a:defRPr/>
            </a:lvl2pPr>
            <a:lvl3pPr marL="630238" indent="-1714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charset="0"/>
              <a:buChar char="•"/>
              <a:tabLst/>
              <a:defRPr sz="2000"/>
            </a:lvl3pPr>
            <a:lvl4pPr marL="857250" indent="-1714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Human BBY Office" pitchFamily="2" charset="0"/>
              <a:buChar char="›"/>
              <a:tabLst/>
              <a:defRPr/>
            </a:lvl4pPr>
            <a:lvl5pPr marL="1090613" indent="-1714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charset="0"/>
              <a:buChar char="•"/>
              <a:tabLst/>
              <a:defRPr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9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7706E3-20F4-8012-29F8-A97BD2C24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287228-06B7-915F-57A2-A87773C488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589F0A-55EB-8C0B-2F4D-A0F64895E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8E55DB6-8B50-42DD-320C-3E20C68663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0" y="1371600"/>
            <a:ext cx="11506200" cy="46863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DDA81C3-F2C2-CC5B-1CDB-E5A530C695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08184" y="6199285"/>
            <a:ext cx="560538" cy="327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2564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DAAFE6C-20FC-DD6D-236E-8E9DF91D1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091352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DAAFE6C-20FC-DD6D-236E-8E9DF91D1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A4C714-88DC-47D6-80A8-F679908A1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293913"/>
            <a:ext cx="11524634" cy="55780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9D9FFC-939C-48EE-BEC6-E87A3DBA59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900" y="1371600"/>
            <a:ext cx="11506200" cy="46863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DB779-3D5B-4156-A59F-A465E48AED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96226" y="6647867"/>
            <a:ext cx="211097" cy="15076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US" sz="700" cap="all" baseline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8C09DA5-8C43-4702-8900-F4900F7A89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87BC8725-30AB-4C6C-BA72-0A9E69C1E3DD}"/>
              </a:ext>
            </a:extLst>
          </p:cNvPr>
          <p:cNvSpPr txBox="1">
            <a:spLocks/>
          </p:cNvSpPr>
          <p:nvPr userDrawn="1"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INTERNAL USE ONLY. DO NOT COPY, PUBLISH OR DISTRIBUTE. THE MATERIAL IN THIS DOCUMENT IS CONFIDENTIAL TO BEST BUY.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E8ECC27-01D5-4E5F-9913-A0846ABD81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5720" y="6647867"/>
            <a:ext cx="3775547" cy="15076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US" sz="7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SAMPLE FOOTER TEX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81472F-08A1-41E7-90D5-DF2F918E8DAC}"/>
              </a:ext>
            </a:extLst>
          </p:cNvPr>
          <p:cNvCxnSpPr/>
          <p:nvPr userDrawn="1"/>
        </p:nvCxnSpPr>
        <p:spPr>
          <a:xfrm>
            <a:off x="337185" y="872762"/>
            <a:ext cx="11524634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F86D77D-3A11-491C-9129-68A32A20D05E}"/>
              </a:ext>
            </a:extLst>
          </p:cNvPr>
          <p:cNvCxnSpPr>
            <a:cxnSpLocks/>
          </p:cNvCxnSpPr>
          <p:nvPr userDrawn="1"/>
        </p:nvCxnSpPr>
        <p:spPr>
          <a:xfrm>
            <a:off x="202791" y="6584457"/>
            <a:ext cx="1181013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6310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65100" algn="l" defTabSz="914400" rtl="0" eaLnBrk="1" latinLnBrk="0" hangingPunct="1">
        <a:lnSpc>
          <a:spcPct val="90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04813" indent="-171450" algn="l" defTabSz="914400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Clr>
          <a:schemeClr val="accent1"/>
        </a:buClr>
        <a:buSzPct val="110000"/>
        <a:buFont typeface="Human BBY Office" pitchFamily="2" charset="0"/>
        <a:buChar char="›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Arial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57250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Human BBY Office" pitchFamily="2" charset="0"/>
        <a:buChar char="›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90613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Arial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528">
          <p15:clr>
            <a:srgbClr val="F26B43"/>
          </p15:clr>
        </p15:guide>
        <p15:guide id="5" pos="7474">
          <p15:clr>
            <a:srgbClr val="F26B43"/>
          </p15:clr>
        </p15:guide>
        <p15:guide id="6" pos="7152">
          <p15:clr>
            <a:srgbClr val="F26B43"/>
          </p15:clr>
        </p15:guide>
        <p15:guide id="7" pos="3816">
          <p15:clr>
            <a:srgbClr val="F26B43"/>
          </p15:clr>
        </p15:guide>
        <p15:guide id="8" pos="3864">
          <p15:clr>
            <a:srgbClr val="F26B43"/>
          </p15:clr>
        </p15:guide>
        <p15:guide id="9" orient="horz" pos="432">
          <p15:clr>
            <a:srgbClr val="F26B43"/>
          </p15:clr>
        </p15:guide>
        <p15:guide id="14" orient="horz" pos="2016">
          <p15:clr>
            <a:srgbClr val="F26B43"/>
          </p15:clr>
        </p15:guide>
        <p15:guide id="15" orient="horz" pos="2304">
          <p15:clr>
            <a:srgbClr val="F26B43"/>
          </p15:clr>
        </p15:guide>
        <p15:guide id="16" orient="horz" pos="3826">
          <p15:clr>
            <a:srgbClr val="F26B43"/>
          </p15:clr>
        </p15:guide>
        <p15:guide id="20" orient="horz" pos="862">
          <p15:clr>
            <a:srgbClr val="F26B43"/>
          </p15:clr>
        </p15:guide>
        <p15:guide id="21" orient="horz" pos="4142">
          <p15:clr>
            <a:srgbClr val="F26B43"/>
          </p15:clr>
        </p15:guide>
        <p15:guide id="22" pos="206">
          <p15:clr>
            <a:srgbClr val="F26B43"/>
          </p15:clr>
        </p15:guide>
        <p15:guide id="23" orient="horz" pos="1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7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9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notesSlide" Target="../notesSlides/notesSlide1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image" Target="../media/image16.png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9" Type="http://schemas.openxmlformats.org/officeDocument/2006/relationships/tags" Target="../tags/tag35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oleObject" Target="../embeddings/oleObject6.bin"/><Relationship Id="rId45" Type="http://schemas.openxmlformats.org/officeDocument/2006/relationships/image" Target="../media/image19.png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image" Target="../media/image18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image" Target="../media/image17.svg"/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slideLayout" Target="../slideLayouts/slideLayout4.xml"/><Relationship Id="rId20" Type="http://schemas.openxmlformats.org/officeDocument/2006/relationships/tags" Target="../tags/tag26.xml"/><Relationship Id="rId41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Relationship Id="rId5" Type="http://schemas.openxmlformats.org/officeDocument/2006/relationships/image" Target="../media/image28.png"/><Relationship Id="rId4" Type="http://schemas.openxmlformats.org/officeDocument/2006/relationships/image" Target="../media/image15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10" Type="http://schemas.openxmlformats.org/officeDocument/2006/relationships/image" Target="../media/image34.svg"/><Relationship Id="rId4" Type="http://schemas.openxmlformats.org/officeDocument/2006/relationships/image" Target="../media/image15.emf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8.xml"/><Relationship Id="rId6" Type="http://schemas.openxmlformats.org/officeDocument/2006/relationships/image" Target="../media/image4.png"/><Relationship Id="rId5" Type="http://schemas.openxmlformats.org/officeDocument/2006/relationships/image" Target="../media/image36.png"/><Relationship Id="rId4" Type="http://schemas.openxmlformats.org/officeDocument/2006/relationships/image" Target="../media/image3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8D390B-A5C3-C14C-4CD2-B2ECC6F1B5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540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78D390B-A5C3-C14C-4CD2-B2ECC6F1B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5EFD276-C283-3990-A7F2-B16762BCC9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1</a:t>
            </a:fld>
            <a:endParaRPr lang="en-US"/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0DA8BFC2-092A-CAD6-5EB5-02CF26FA25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1488649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9" name="Title 1">
            <a:extLst>
              <a:ext uri="{FF2B5EF4-FFF2-40B4-BE49-F238E27FC236}">
                <a16:creationId xmlns:a16="http://schemas.microsoft.com/office/drawing/2014/main" id="{26BF81DA-050E-B003-E724-877DB6E03DDE}"/>
              </a:ext>
            </a:extLst>
          </p:cNvPr>
          <p:cNvSpPr txBox="1">
            <a:spLocks/>
          </p:cNvSpPr>
          <p:nvPr/>
        </p:nvSpPr>
        <p:spPr>
          <a:xfrm>
            <a:off x="342900" y="396164"/>
            <a:ext cx="5985329" cy="35330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72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/>
              <a:t>Best Buy Revenue Distribution 2021</a:t>
            </a:r>
          </a:p>
        </p:txBody>
      </p:sp>
    </p:spTree>
    <p:extLst>
      <p:ext uri="{BB962C8B-B14F-4D97-AF65-F5344CB8AC3E}">
        <p14:creationId xmlns:p14="http://schemas.microsoft.com/office/powerpoint/2010/main" val="3479317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9218636-E0B4-C126-1D16-5DA04A87A6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015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9218636-E0B4-C126-1D16-5DA04A87A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BF5C4E-476A-C35C-298D-0EFE28A79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HAP &amp; feature importance plo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7CC900-7BE8-61A0-D640-E38C9E517F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931858-F968-2EC8-7C19-C5769C1DD8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8303" y="2144410"/>
            <a:ext cx="6248288" cy="32107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2BA402-706B-0CD3-F27D-F58FF0EAF7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6409" y="1643532"/>
            <a:ext cx="3564440" cy="4212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02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9FBF9B4-4C5D-5E55-FEF0-B1FC6F5C93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39073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9FBF9B4-4C5D-5E55-FEF0-B1FC6F5C93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0C8EDD6-2164-DDAD-902B-BF48066077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3700335"/>
              </p:ext>
            </p:extLst>
          </p:nvPr>
        </p:nvGraphicFramePr>
        <p:xfrm>
          <a:off x="844775" y="3670052"/>
          <a:ext cx="8461351" cy="19121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1351">
                  <a:extLst>
                    <a:ext uri="{9D8B030D-6E8A-4147-A177-3AD203B41FA5}">
                      <a16:colId xmlns:a16="http://schemas.microsoft.com/office/drawing/2014/main" val="1082404452"/>
                    </a:ext>
                  </a:extLst>
                </a:gridCol>
              </a:tblGrid>
              <a:tr h="19121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7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Human BBY Office"/>
                        <a:ea typeface="+mn-ea"/>
                        <a:cs typeface="+mn-cs"/>
                      </a:endParaRPr>
                    </a:p>
                  </a:txBody>
                  <a:tcPr marL="0" marR="0" marT="457200" marB="18288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331979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EE92DF-7A39-588A-214F-EC1D1E91DD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668A3DB-B413-1683-CDF0-724143C06E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3018" y="3877205"/>
            <a:ext cx="9955611" cy="1508105"/>
          </a:xfrm>
        </p:spPr>
        <p:txBody>
          <a:bodyPr vert="horz"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6600"/>
              <a:t>Scarce Prophets for Best Buy</a:t>
            </a:r>
            <a:br>
              <a:rPr lang="en-US"/>
            </a:br>
            <a:r>
              <a:rPr lang="en-US" sz="1600"/>
              <a:t>Sanchita Porwal, Sri Ravi Teja Kolipakula, Suraj Shourie &amp; Paul Jordan</a:t>
            </a:r>
            <a:br>
              <a:rPr lang="en-US" sz="1600"/>
            </a:br>
            <a:r>
              <a:rPr lang="en-US" sz="1600"/>
              <a:t>GT MSA Project Week Final Presentation | January 20, 2022</a:t>
            </a:r>
          </a:p>
        </p:txBody>
      </p:sp>
      <p:pic>
        <p:nvPicPr>
          <p:cNvPr id="37" name="Picture 36" descr="A person in a suit&#10;&#10;Description automatically generated with low confidence">
            <a:extLst>
              <a:ext uri="{FF2B5EF4-FFF2-40B4-BE49-F238E27FC236}">
                <a16:creationId xmlns:a16="http://schemas.microsoft.com/office/drawing/2014/main" id="{67EF921B-3E6E-6D24-4E71-1AB881BA84D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444" t="8367" r="26610" b="54006"/>
          <a:stretch/>
        </p:blipFill>
        <p:spPr>
          <a:xfrm>
            <a:off x="3628091" y="211674"/>
            <a:ext cx="1508760" cy="1550813"/>
          </a:xfrm>
          <a:prstGeom prst="ellipse">
            <a:avLst/>
          </a:prstGeom>
          <a:ln w="1905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38" name="Picture 37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3463EA7B-637E-5B5B-123E-F6288FDF61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96892" y="233028"/>
            <a:ext cx="1508105" cy="1508105"/>
          </a:xfrm>
          <a:prstGeom prst="ellipse">
            <a:avLst/>
          </a:prstGeom>
          <a:ln w="1905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06FCD972-B978-D778-463F-0E33981896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65522" y="233028"/>
            <a:ext cx="1508105" cy="1508105"/>
          </a:xfrm>
          <a:prstGeom prst="ellipse">
            <a:avLst/>
          </a:prstGeom>
          <a:ln w="1905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id="{2AC385E7-B449-661D-8E84-8202BC07FB48}"/>
              </a:ext>
            </a:extLst>
          </p:cNvPr>
          <p:cNvPicPr>
            <a:picLocks/>
          </p:cNvPicPr>
          <p:nvPr/>
        </p:nvPicPr>
        <p:blipFill rotWithShape="1">
          <a:blip r:embed="rId8"/>
          <a:srcRect l="9513" t="8174" r="20560" b="45207"/>
          <a:stretch/>
        </p:blipFill>
        <p:spPr>
          <a:xfrm>
            <a:off x="5733668" y="211674"/>
            <a:ext cx="1508760" cy="1550813"/>
          </a:xfrm>
          <a:prstGeom prst="ellipse">
            <a:avLst/>
          </a:prstGeom>
          <a:ln w="1905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2EE24C2B-21AC-DC56-7900-2E975A8F8B16}"/>
              </a:ext>
            </a:extLst>
          </p:cNvPr>
          <p:cNvSpPr txBox="1"/>
          <p:nvPr/>
        </p:nvSpPr>
        <p:spPr>
          <a:xfrm>
            <a:off x="844775" y="1838960"/>
            <a:ext cx="2412339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/>
              <a:t>Sanchit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Feature engineer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Model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Insights &amp; recommendation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08C17FB-6C5E-4E46-7049-9F0D1CCC3BAE}"/>
              </a:ext>
            </a:extLst>
          </p:cNvPr>
          <p:cNvSpPr txBox="1"/>
          <p:nvPr/>
        </p:nvSpPr>
        <p:spPr>
          <a:xfrm>
            <a:off x="3402251" y="1838960"/>
            <a:ext cx="1960440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/>
              <a:t>Ravi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Problem formul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Feature engineer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Modelling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C3F9BA2-6A77-FAF8-79AA-0D639427B601}"/>
              </a:ext>
            </a:extLst>
          </p:cNvPr>
          <p:cNvSpPr txBox="1"/>
          <p:nvPr/>
        </p:nvSpPr>
        <p:spPr>
          <a:xfrm>
            <a:off x="5507828" y="1838960"/>
            <a:ext cx="1960440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/>
              <a:t>Suraj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Feature engineer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Modell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Visualization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895D03A-DCCE-68D7-C2E2-ECF7BDEF8417}"/>
              </a:ext>
            </a:extLst>
          </p:cNvPr>
          <p:cNvSpPr txBox="1"/>
          <p:nvPr/>
        </p:nvSpPr>
        <p:spPr>
          <a:xfrm>
            <a:off x="7613404" y="1838960"/>
            <a:ext cx="2412339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/>
              <a:t>Paul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Data explor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Feature engineer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Insights &amp;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217947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FD066C9-F483-5C1B-73AB-9AADA298E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10329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FD066C9-F483-5C1B-73AB-9AADA298E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>
            <a:extLst>
              <a:ext uri="{FF2B5EF4-FFF2-40B4-BE49-F238E27FC236}">
                <a16:creationId xmlns:a16="http://schemas.microsoft.com/office/drawing/2014/main" id="{33F15D9E-B879-9753-7F0C-9C0BEC40A1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68"/>
          <a:stretch/>
        </p:blipFill>
        <p:spPr bwMode="auto">
          <a:xfrm>
            <a:off x="1788030" y="2933286"/>
            <a:ext cx="8615940" cy="3638676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Our highly accurate machine-learning model forecasts slow-selling SKU sa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BD2FBB-2CA5-DE80-3025-1245F298BEAF}"/>
              </a:ext>
            </a:extLst>
          </p:cNvPr>
          <p:cNvSpPr txBox="1">
            <a:spLocks/>
          </p:cNvSpPr>
          <p:nvPr/>
        </p:nvSpPr>
        <p:spPr>
          <a:xfrm>
            <a:off x="449488" y="2134980"/>
            <a:ext cx="3383280" cy="368479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defPPr>
              <a:defRPr lang="en-CA"/>
            </a:defPPr>
            <a:lvl1pPr marL="137160" indent="-13716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§"/>
              <a:defRPr sz="1200">
                <a:solidFill>
                  <a:srgbClr val="53565A"/>
                </a:solidFill>
              </a:defRPr>
            </a:lvl1pPr>
          </a:lstStyle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Best Buy stocks hundreds of </a:t>
            </a:r>
            <a:r>
              <a:rPr lang="en-IN" b="1">
                <a:latin typeface="Arial" panose="020B0604020202020204" pitchFamily="34" charset="0"/>
              </a:rPr>
              <a:t>slow-selling SKUs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These SKUs put a </a:t>
            </a:r>
            <a:r>
              <a:rPr lang="en-IN" b="1">
                <a:latin typeface="Arial" panose="020B0604020202020204" pitchFamily="34" charset="0"/>
              </a:rPr>
              <a:t>constraint</a:t>
            </a:r>
            <a:r>
              <a:rPr lang="en-IN">
                <a:latin typeface="Arial" panose="020B0604020202020204" pitchFamily="34" charset="0"/>
              </a:rPr>
              <a:t> on working capital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Moreover, sales are difficult to predict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Accurate sales forecasts would have a </a:t>
            </a:r>
            <a:r>
              <a:rPr lang="en-IN" b="1">
                <a:latin typeface="Arial" panose="020B0604020202020204" pitchFamily="34" charset="0"/>
              </a:rPr>
              <a:t>large impact </a:t>
            </a:r>
            <a:r>
              <a:rPr lang="en-IN">
                <a:latin typeface="Arial" panose="020B0604020202020204" pitchFamily="34" charset="0"/>
              </a:rPr>
              <a:t>on operations, working capital, and customer satisfac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8CD75C-A974-D276-A18E-F893BF122019}"/>
              </a:ext>
            </a:extLst>
          </p:cNvPr>
          <p:cNvSpPr txBox="1">
            <a:spLocks/>
          </p:cNvSpPr>
          <p:nvPr/>
        </p:nvSpPr>
        <p:spPr>
          <a:xfrm>
            <a:off x="4405639" y="2134980"/>
            <a:ext cx="3383280" cy="368479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defPPr>
              <a:defRPr lang="en-CA"/>
            </a:defPPr>
            <a:lvl1pPr marL="137160" indent="-13716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§"/>
              <a:defRPr sz="1200">
                <a:solidFill>
                  <a:srgbClr val="53565A"/>
                </a:solidFill>
              </a:defRPr>
            </a:lvl1pPr>
          </a:lstStyle>
          <a:p>
            <a:pPr marL="228600" lvl="1" indent="-22860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Data exploration </a:t>
            </a:r>
            <a:r>
              <a:rPr lang="en-IN">
                <a:latin typeface="Arial" panose="020B0604020202020204" pitchFamily="34" charset="0"/>
                <a:sym typeface="Wingdings" pitchFamily="2" charset="2"/>
              </a:rPr>
              <a:t> </a:t>
            </a:r>
            <a:r>
              <a:rPr lang="en-IN" b="1">
                <a:latin typeface="Arial" panose="020B0604020202020204" pitchFamily="34" charset="0"/>
                <a:sym typeface="Wingdings" pitchFamily="2" charset="2"/>
              </a:rPr>
              <a:t>Tableau</a:t>
            </a:r>
            <a:endParaRPr lang="en-IN" b="1">
              <a:latin typeface="Arial" panose="020B0604020202020204" pitchFamily="34" charset="0"/>
            </a:endParaRPr>
          </a:p>
          <a:p>
            <a:pPr marL="228600" lvl="1" indent="-22860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Internal &amp; external data </a:t>
            </a:r>
            <a:r>
              <a:rPr lang="en-IN">
                <a:latin typeface="Arial" panose="020B0604020202020204" pitchFamily="34" charset="0"/>
              </a:rPr>
              <a:t>used for feature creation</a:t>
            </a:r>
          </a:p>
          <a:p>
            <a:pPr marL="228600" lvl="1" indent="-22860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Feature selection</a:t>
            </a:r>
            <a:r>
              <a:rPr lang="en-IN" b="1">
                <a:latin typeface="Arial" panose="020B0604020202020204" pitchFamily="34" charset="0"/>
                <a:sym typeface="Wingdings" pitchFamily="2" charset="2"/>
              </a:rPr>
              <a:t> </a:t>
            </a:r>
            <a:r>
              <a:rPr lang="en-IN">
                <a:latin typeface="Arial" panose="020B0604020202020204" pitchFamily="34" charset="0"/>
                <a:sym typeface="Wingdings" pitchFamily="2" charset="2"/>
              </a:rPr>
              <a:t> evaluating the best combination of features</a:t>
            </a:r>
            <a:endParaRPr lang="en-IN" b="1">
              <a:latin typeface="Arial" panose="020B0604020202020204" pitchFamily="34" charset="0"/>
            </a:endParaRP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Best model </a:t>
            </a:r>
            <a:r>
              <a:rPr lang="en-IN">
                <a:latin typeface="Arial" panose="020B0604020202020204" pitchFamily="34" charset="0"/>
                <a:sym typeface="Wingdings" pitchFamily="2" charset="2"/>
              </a:rPr>
              <a:t> </a:t>
            </a:r>
            <a:r>
              <a:rPr lang="en-IN" b="1" err="1">
                <a:latin typeface="Arial" panose="020B0604020202020204" pitchFamily="34" charset="0"/>
                <a:sym typeface="Wingdings" pitchFamily="2" charset="2"/>
              </a:rPr>
              <a:t>LightGBM</a:t>
            </a:r>
            <a:r>
              <a:rPr lang="en-IN" b="1">
                <a:latin typeface="Arial" panose="020B0604020202020204" pitchFamily="34" charset="0"/>
                <a:sym typeface="Wingdings" pitchFamily="2" charset="2"/>
              </a:rPr>
              <a:t> </a:t>
            </a:r>
            <a:r>
              <a:rPr lang="en-IN">
                <a:latin typeface="Arial" panose="020B0604020202020204" pitchFamily="34" charset="0"/>
                <a:sym typeface="Wingdings" pitchFamily="2" charset="2"/>
              </a:rPr>
              <a:t>with lag features (recommended model)</a:t>
            </a:r>
            <a:endParaRPr lang="en-IN">
              <a:latin typeface="Arial" panose="020B0604020202020204" pitchFamily="34" charset="0"/>
            </a:endParaRP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Performance </a:t>
            </a:r>
            <a:r>
              <a:rPr lang="en-IN">
                <a:latin typeface="Arial" panose="020B0604020202020204" pitchFamily="34" charset="0"/>
                <a:sym typeface="Wingdings" pitchFamily="2" charset="2"/>
              </a:rPr>
              <a:t> </a:t>
            </a:r>
            <a:r>
              <a:rPr lang="en-IN" b="1">
                <a:latin typeface="Arial" panose="020B0604020202020204" pitchFamily="34" charset="0"/>
                <a:sym typeface="Wingdings" pitchFamily="2" charset="2"/>
              </a:rPr>
              <a:t>RMSE of 3.39 </a:t>
            </a:r>
            <a:r>
              <a:rPr lang="en-IN">
                <a:latin typeface="Arial" panose="020B0604020202020204" pitchFamily="34" charset="0"/>
                <a:sym typeface="Wingdings" pitchFamily="2" charset="2"/>
              </a:rPr>
              <a:t>for our </a:t>
            </a:r>
            <a:r>
              <a:rPr lang="en-IN" err="1">
                <a:latin typeface="Arial" panose="020B0604020202020204" pitchFamily="34" charset="0"/>
                <a:sym typeface="Wingdings" pitchFamily="2" charset="2"/>
              </a:rPr>
              <a:t>LightGBM</a:t>
            </a:r>
            <a:r>
              <a:rPr lang="en-IN">
                <a:latin typeface="Arial" panose="020B0604020202020204" pitchFamily="34" charset="0"/>
                <a:sym typeface="Wingdings" pitchFamily="2" charset="2"/>
              </a:rPr>
              <a:t> model </a:t>
            </a:r>
            <a:r>
              <a:rPr lang="en-IN" b="1">
                <a:latin typeface="Arial" panose="020B0604020202020204" pitchFamily="34" charset="0"/>
                <a:sym typeface="Wingdings" pitchFamily="2" charset="2"/>
              </a:rPr>
              <a:t>within 3 seconds</a:t>
            </a:r>
            <a:endParaRPr lang="en-IN" b="1">
              <a:latin typeface="Arial" panose="020B0604020202020204" pitchFamily="34" charset="0"/>
            </a:endParaRPr>
          </a:p>
        </p:txBody>
      </p:sp>
      <p:sp>
        <p:nvSpPr>
          <p:cNvPr id="8" name="Arrow: Chevron 3">
            <a:extLst>
              <a:ext uri="{FF2B5EF4-FFF2-40B4-BE49-F238E27FC236}">
                <a16:creationId xmlns:a16="http://schemas.microsoft.com/office/drawing/2014/main" id="{58A28288-960E-6CB3-A7EA-ED0C408AAEB7}"/>
              </a:ext>
            </a:extLst>
          </p:cNvPr>
          <p:cNvSpPr/>
          <p:nvPr/>
        </p:nvSpPr>
        <p:spPr>
          <a:xfrm>
            <a:off x="4292255" y="1368425"/>
            <a:ext cx="3697743" cy="667512"/>
          </a:xfrm>
          <a:prstGeom prst="chevron">
            <a:avLst>
              <a:gd name="adj" fmla="val 28049"/>
            </a:avLst>
          </a:prstGeom>
          <a:solidFill>
            <a:schemeClr val="tx2"/>
          </a:solidFill>
          <a:ln w="6350">
            <a:noFill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10000"/>
            </a:pPr>
            <a:r>
              <a:rPr lang="en-US" sz="2000" b="1">
                <a:solidFill>
                  <a:schemeClr val="bg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9" name="Arrow: Chevron 5">
            <a:extLst>
              <a:ext uri="{FF2B5EF4-FFF2-40B4-BE49-F238E27FC236}">
                <a16:creationId xmlns:a16="http://schemas.microsoft.com/office/drawing/2014/main" id="{FD9B3F50-A0DE-3D4B-8B50-C46DDC9D0CF2}"/>
              </a:ext>
            </a:extLst>
          </p:cNvPr>
          <p:cNvSpPr/>
          <p:nvPr/>
        </p:nvSpPr>
        <p:spPr>
          <a:xfrm>
            <a:off x="8327020" y="1368425"/>
            <a:ext cx="3540513" cy="667512"/>
          </a:xfrm>
          <a:prstGeom prst="chevron">
            <a:avLst>
              <a:gd name="adj" fmla="val 28049"/>
            </a:avLst>
          </a:prstGeom>
          <a:solidFill>
            <a:schemeClr val="tx2"/>
          </a:solidFill>
          <a:ln w="6350">
            <a:noFill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10000"/>
            </a:pPr>
            <a:r>
              <a:rPr lang="en-US" sz="2000" b="1">
                <a:solidFill>
                  <a:schemeClr val="bg1"/>
                </a:solidFill>
                <a:latin typeface="Arial" panose="020B0604020202020204" pitchFamily="34" charset="0"/>
              </a:rPr>
              <a:t>Recommendations</a:t>
            </a:r>
          </a:p>
        </p:txBody>
      </p:sp>
      <p:sp>
        <p:nvSpPr>
          <p:cNvPr id="10" name="Arrow: Chevron 3">
            <a:extLst>
              <a:ext uri="{FF2B5EF4-FFF2-40B4-BE49-F238E27FC236}">
                <a16:creationId xmlns:a16="http://schemas.microsoft.com/office/drawing/2014/main" id="{E1D8DD94-D9A8-8118-A4BC-DC3DCE3E466D}"/>
              </a:ext>
            </a:extLst>
          </p:cNvPr>
          <p:cNvSpPr/>
          <p:nvPr/>
        </p:nvSpPr>
        <p:spPr>
          <a:xfrm>
            <a:off x="327023" y="1368425"/>
            <a:ext cx="3628210" cy="667512"/>
          </a:xfrm>
          <a:prstGeom prst="homePlate">
            <a:avLst>
              <a:gd name="adj" fmla="val 27933"/>
            </a:avLst>
          </a:prstGeom>
          <a:solidFill>
            <a:schemeClr val="tx2"/>
          </a:solidFill>
          <a:ln w="6350">
            <a:noFill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10000"/>
            </a:pPr>
            <a:r>
              <a:rPr lang="en-US" sz="2000" b="1">
                <a:solidFill>
                  <a:schemeClr val="bg1"/>
                </a:solidFill>
                <a:latin typeface="Arial" panose="020B0604020202020204" pitchFamily="34" charset="0"/>
              </a:rPr>
              <a:t>Business Opportunit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CECEAC-FE13-DCFC-FCF2-FEDEAA93A01E}"/>
              </a:ext>
            </a:extLst>
          </p:cNvPr>
          <p:cNvCxnSpPr>
            <a:cxnSpLocks/>
          </p:cNvCxnSpPr>
          <p:nvPr/>
        </p:nvCxnSpPr>
        <p:spPr>
          <a:xfrm>
            <a:off x="8136587" y="2134981"/>
            <a:ext cx="0" cy="368479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EC1F065-AF45-6F88-05DE-26C8A78B0FD4}"/>
              </a:ext>
            </a:extLst>
          </p:cNvPr>
          <p:cNvCxnSpPr/>
          <p:nvPr/>
        </p:nvCxnSpPr>
        <p:spPr>
          <a:xfrm>
            <a:off x="4057971" y="2134981"/>
            <a:ext cx="0" cy="368479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200DD91-2B67-9D1F-A8CF-B96FCE6CBA80}"/>
              </a:ext>
            </a:extLst>
          </p:cNvPr>
          <p:cNvSpPr txBox="1">
            <a:spLocks/>
          </p:cNvSpPr>
          <p:nvPr/>
        </p:nvSpPr>
        <p:spPr>
          <a:xfrm>
            <a:off x="8405636" y="2134980"/>
            <a:ext cx="3383280" cy="368479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defPPr>
              <a:defRPr lang="en-CA"/>
            </a:defPPr>
            <a:lvl1pPr marL="137160" indent="-13716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§"/>
              <a:defRPr sz="1200">
                <a:solidFill>
                  <a:srgbClr val="53565A"/>
                </a:solidFill>
              </a:defRPr>
            </a:lvl1pPr>
          </a:lstStyle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Stock inventory </a:t>
            </a:r>
            <a:r>
              <a:rPr lang="en-IN">
                <a:latin typeface="Arial" panose="020B0604020202020204" pitchFamily="34" charset="0"/>
              </a:rPr>
              <a:t>in anticipation of promotions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Constantly adjust prices </a:t>
            </a:r>
            <a:r>
              <a:rPr lang="en-IN">
                <a:latin typeface="Arial" panose="020B0604020202020204" pitchFamily="34" charset="0"/>
              </a:rPr>
              <a:t>and promotions according to inflation and consumer sentiment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Incorporate seasonality </a:t>
            </a:r>
            <a:r>
              <a:rPr lang="en-IN">
                <a:latin typeface="Arial" panose="020B0604020202020204" pitchFamily="34" charset="0"/>
              </a:rPr>
              <a:t>of products during the order process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Utilize discounting strategies </a:t>
            </a:r>
            <a:r>
              <a:rPr lang="en-IN">
                <a:latin typeface="Arial" panose="020B0604020202020204" pitchFamily="34" charset="0"/>
              </a:rPr>
              <a:t>for pushing sales of slow-selling SKUs</a:t>
            </a:r>
          </a:p>
        </p:txBody>
      </p:sp>
    </p:spTree>
    <p:extLst>
      <p:ext uri="{BB962C8B-B14F-4D97-AF65-F5344CB8AC3E}">
        <p14:creationId xmlns:p14="http://schemas.microsoft.com/office/powerpoint/2010/main" val="995690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434E7-74BA-087F-1BD5-FE832AA1E5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206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7772400" imgH="10058400" progId="TCLayout.ActiveDocument.1">
                  <p:embed/>
                </p:oleObj>
              </mc:Choice>
              <mc:Fallback>
                <p:oleObj name="think-cell Slide" r:id="rId40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434E7-74BA-087F-1BD5-FE832AA1E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A wide variety of features were explored for the model</a:t>
            </a: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B64C2198-60C3-1D5F-A233-A9C427B90AC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12279671"/>
              </p:ext>
            </p:extLst>
          </p:nvPr>
        </p:nvGraphicFramePr>
        <p:xfrm>
          <a:off x="342900" y="1279922"/>
          <a:ext cx="8385465" cy="469556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187313">
                  <a:extLst>
                    <a:ext uri="{9D8B030D-6E8A-4147-A177-3AD203B41FA5}">
                      <a16:colId xmlns:a16="http://schemas.microsoft.com/office/drawing/2014/main" val="4293567995"/>
                    </a:ext>
                  </a:extLst>
                </a:gridCol>
                <a:gridCol w="1299538">
                  <a:extLst>
                    <a:ext uri="{9D8B030D-6E8A-4147-A177-3AD203B41FA5}">
                      <a16:colId xmlns:a16="http://schemas.microsoft.com/office/drawing/2014/main" val="567467441"/>
                    </a:ext>
                  </a:extLst>
                </a:gridCol>
                <a:gridCol w="1299538">
                  <a:extLst>
                    <a:ext uri="{9D8B030D-6E8A-4147-A177-3AD203B41FA5}">
                      <a16:colId xmlns:a16="http://schemas.microsoft.com/office/drawing/2014/main" val="1098994566"/>
                    </a:ext>
                  </a:extLst>
                </a:gridCol>
                <a:gridCol w="1299538">
                  <a:extLst>
                    <a:ext uri="{9D8B030D-6E8A-4147-A177-3AD203B41FA5}">
                      <a16:colId xmlns:a16="http://schemas.microsoft.com/office/drawing/2014/main" val="4031496252"/>
                    </a:ext>
                  </a:extLst>
                </a:gridCol>
                <a:gridCol w="1299538">
                  <a:extLst>
                    <a:ext uri="{9D8B030D-6E8A-4147-A177-3AD203B41FA5}">
                      <a16:colId xmlns:a16="http://schemas.microsoft.com/office/drawing/2014/main" val="2035380608"/>
                    </a:ext>
                  </a:extLst>
                </a:gridCol>
              </a:tblGrid>
              <a:tr h="31621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Feature Category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urrent</a:t>
                      </a:r>
                      <a:br>
                        <a:rPr lang="en-US" sz="140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Data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Lag</a:t>
                      </a:r>
                      <a:br>
                        <a:rPr lang="en-US" sz="140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Feature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Internal vs.</a:t>
                      </a:r>
                      <a:br>
                        <a:rPr lang="en-US" sz="140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External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Used in</a:t>
                      </a:r>
                      <a:br>
                        <a:rPr lang="en-US" sz="140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Final Model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100772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Previous sale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6961059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Amount of discount (%)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8374018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# of days on which promotion happened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75695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Price of product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47010430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Avg. price of product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9337506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Price elasticity (stdev in price)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6806811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ime since last xx% promotion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4235332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Seasonal index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0857192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Ratio of competitor to Best Buy price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722192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Inventory level statu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9886540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inflation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3642322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consumer sentiment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630221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Global supply chain pressure index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72309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holiday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751521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unemployment rate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180401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major weather event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88626660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COVID-19 case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47250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personal consumption expenditure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3207230"/>
                  </a:ext>
                </a:extLst>
              </a:tr>
            </a:tbl>
          </a:graphicData>
        </a:graphic>
      </p:graphicFrame>
      <p:grpSp>
        <p:nvGrpSpPr>
          <p:cNvPr id="1037" name="Gruppieren 253">
            <a:extLst>
              <a:ext uri="{FF2B5EF4-FFF2-40B4-BE49-F238E27FC236}">
                <a16:creationId xmlns:a16="http://schemas.microsoft.com/office/drawing/2014/main" id="{F3CCB9DA-FCFA-9ED5-F897-72E20B84D288}"/>
              </a:ext>
            </a:extLst>
          </p:cNvPr>
          <p:cNvGrpSpPr/>
          <p:nvPr/>
        </p:nvGrpSpPr>
        <p:grpSpPr>
          <a:xfrm>
            <a:off x="7966272" y="1712897"/>
            <a:ext cx="224648" cy="224648"/>
            <a:chOff x="9787094" y="3428364"/>
            <a:chExt cx="436765" cy="436765"/>
          </a:xfrm>
        </p:grpSpPr>
        <p:sp>
          <p:nvSpPr>
            <p:cNvPr id="1038" name="Oval 51">
              <a:extLst>
                <a:ext uri="{FF2B5EF4-FFF2-40B4-BE49-F238E27FC236}">
                  <a16:creationId xmlns:a16="http://schemas.microsoft.com/office/drawing/2014/main" id="{AFA448F4-DFBB-B5E6-99B3-0A1BEA0AC2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039" name="Grafik 252" descr="Daumen-hoch-Zeichen">
              <a:extLst>
                <a:ext uri="{FF2B5EF4-FFF2-40B4-BE49-F238E27FC236}">
                  <a16:creationId xmlns:a16="http://schemas.microsoft.com/office/drawing/2014/main" id="{DCCB6ED3-2C1A-DAB9-01DD-205F9751D2CF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sp>
        <p:nvSpPr>
          <p:cNvPr id="1040" name="Freeform 12">
            <a:extLst>
              <a:ext uri="{FF2B5EF4-FFF2-40B4-BE49-F238E27FC236}">
                <a16:creationId xmlns:a16="http://schemas.microsoft.com/office/drawing/2014/main" id="{D81EA4D3-B488-DEDE-6E7A-D82EF769DA6B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4040277" y="1930185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grpSp>
        <p:nvGrpSpPr>
          <p:cNvPr id="1041" name="Group 5">
            <a:extLst>
              <a:ext uri="{FF2B5EF4-FFF2-40B4-BE49-F238E27FC236}">
                <a16:creationId xmlns:a16="http://schemas.microsoft.com/office/drawing/2014/main" id="{186AF146-2818-AC4E-7769-7E8B9C9A9876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050806" y="1690057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42" name="Freeform 6">
              <a:extLst>
                <a:ext uri="{FF2B5EF4-FFF2-40B4-BE49-F238E27FC236}">
                  <a16:creationId xmlns:a16="http://schemas.microsoft.com/office/drawing/2014/main" id="{40D62B57-8A7C-04E8-175F-17681E05B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43" name="Freeform 7">
              <a:extLst>
                <a:ext uri="{FF2B5EF4-FFF2-40B4-BE49-F238E27FC236}">
                  <a16:creationId xmlns:a16="http://schemas.microsoft.com/office/drawing/2014/main" id="{95A1C9C0-B562-3CC7-2D6A-D3E14B9929A6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sp>
        <p:nvSpPr>
          <p:cNvPr id="1044" name="Freeform 12">
            <a:extLst>
              <a:ext uri="{FF2B5EF4-FFF2-40B4-BE49-F238E27FC236}">
                <a16:creationId xmlns:a16="http://schemas.microsoft.com/office/drawing/2014/main" id="{B8D0E7F6-F664-95DD-4C54-5C7E49492A2C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4040277" y="2404501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grpSp>
        <p:nvGrpSpPr>
          <p:cNvPr id="1045" name="Group 5">
            <a:extLst>
              <a:ext uri="{FF2B5EF4-FFF2-40B4-BE49-F238E27FC236}">
                <a16:creationId xmlns:a16="http://schemas.microsoft.com/office/drawing/2014/main" id="{5CBFEED6-6084-836D-CBB6-CB55EC0EEDD9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4050806" y="2164373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46" name="Freeform 6">
              <a:extLst>
                <a:ext uri="{FF2B5EF4-FFF2-40B4-BE49-F238E27FC236}">
                  <a16:creationId xmlns:a16="http://schemas.microsoft.com/office/drawing/2014/main" id="{F8FC4185-E93D-144F-9089-55A699E33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47" name="Freeform 7">
              <a:extLst>
                <a:ext uri="{FF2B5EF4-FFF2-40B4-BE49-F238E27FC236}">
                  <a16:creationId xmlns:a16="http://schemas.microsoft.com/office/drawing/2014/main" id="{26ECB204-2392-CB61-CE3C-EA0C41FE95C2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48" name="Group 5">
            <a:extLst>
              <a:ext uri="{FF2B5EF4-FFF2-40B4-BE49-F238E27FC236}">
                <a16:creationId xmlns:a16="http://schemas.microsoft.com/office/drawing/2014/main" id="{A6FD342F-42B9-7656-F609-E373FA613EBD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4050806" y="2875847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49" name="Freeform 6">
              <a:extLst>
                <a:ext uri="{FF2B5EF4-FFF2-40B4-BE49-F238E27FC236}">
                  <a16:creationId xmlns:a16="http://schemas.microsoft.com/office/drawing/2014/main" id="{339FF7D4-1840-832F-57F8-0568B863B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50" name="Freeform 7">
              <a:extLst>
                <a:ext uri="{FF2B5EF4-FFF2-40B4-BE49-F238E27FC236}">
                  <a16:creationId xmlns:a16="http://schemas.microsoft.com/office/drawing/2014/main" id="{0846821C-46C5-2483-65AA-1A3A350706B1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51" name="Group 5">
            <a:extLst>
              <a:ext uri="{FF2B5EF4-FFF2-40B4-BE49-F238E27FC236}">
                <a16:creationId xmlns:a16="http://schemas.microsoft.com/office/drawing/2014/main" id="{80B358D3-7DF8-584D-3D34-F9770549733B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4050806" y="2638689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52" name="Freeform 6">
              <a:extLst>
                <a:ext uri="{FF2B5EF4-FFF2-40B4-BE49-F238E27FC236}">
                  <a16:creationId xmlns:a16="http://schemas.microsoft.com/office/drawing/2014/main" id="{AD4F1C04-A978-9F3A-BAB5-07A17ED4D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53" name="Freeform 7">
              <a:extLst>
                <a:ext uri="{FF2B5EF4-FFF2-40B4-BE49-F238E27FC236}">
                  <a16:creationId xmlns:a16="http://schemas.microsoft.com/office/drawing/2014/main" id="{4B2EF65D-111F-EEE0-68DC-FFED1EE21C2D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sp>
        <p:nvSpPr>
          <p:cNvPr id="1057" name="Freeform 12">
            <a:extLst>
              <a:ext uri="{FF2B5EF4-FFF2-40B4-BE49-F238E27FC236}">
                <a16:creationId xmlns:a16="http://schemas.microsoft.com/office/drawing/2014/main" id="{B70B5FE8-3031-C4A0-8BCB-485B5D3F4F72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4040277" y="3353133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58" name="Freeform 12">
            <a:extLst>
              <a:ext uri="{FF2B5EF4-FFF2-40B4-BE49-F238E27FC236}">
                <a16:creationId xmlns:a16="http://schemas.microsoft.com/office/drawing/2014/main" id="{A905A462-C5B7-9BB3-4497-1F4DD8B458C3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4040277" y="3590291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59" name="Freeform 12">
            <a:extLst>
              <a:ext uri="{FF2B5EF4-FFF2-40B4-BE49-F238E27FC236}">
                <a16:creationId xmlns:a16="http://schemas.microsoft.com/office/drawing/2014/main" id="{D11262DE-DB0B-D75F-2CA9-62C298662EF3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4040277" y="3827449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0" name="Freeform 12">
            <a:extLst>
              <a:ext uri="{FF2B5EF4-FFF2-40B4-BE49-F238E27FC236}">
                <a16:creationId xmlns:a16="http://schemas.microsoft.com/office/drawing/2014/main" id="{64336288-5E9F-83F8-7DFF-5A9639B60ED9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4040277" y="4064607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1" name="Freeform 12">
            <a:extLst>
              <a:ext uri="{FF2B5EF4-FFF2-40B4-BE49-F238E27FC236}">
                <a16:creationId xmlns:a16="http://schemas.microsoft.com/office/drawing/2014/main" id="{7AEAFDEA-67D8-7F54-2408-5CC94B20A20F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4040277" y="4301765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2" name="Freeform 12">
            <a:extLst>
              <a:ext uri="{FF2B5EF4-FFF2-40B4-BE49-F238E27FC236}">
                <a16:creationId xmlns:a16="http://schemas.microsoft.com/office/drawing/2014/main" id="{5555AC9B-5F03-BC85-A8E8-A1B563C0124A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auto">
          <a:xfrm>
            <a:off x="4040277" y="4538923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3" name="Freeform 12">
            <a:extLst>
              <a:ext uri="{FF2B5EF4-FFF2-40B4-BE49-F238E27FC236}">
                <a16:creationId xmlns:a16="http://schemas.microsoft.com/office/drawing/2014/main" id="{5000AF14-4C16-BF3E-8C8C-D27F231FAC1C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4040277" y="4776081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4" name="Freeform 12">
            <a:extLst>
              <a:ext uri="{FF2B5EF4-FFF2-40B4-BE49-F238E27FC236}">
                <a16:creationId xmlns:a16="http://schemas.microsoft.com/office/drawing/2014/main" id="{96C10A2D-656C-476A-5BC8-932DDD807535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4040277" y="5013239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5" name="Freeform 12">
            <a:extLst>
              <a:ext uri="{FF2B5EF4-FFF2-40B4-BE49-F238E27FC236}">
                <a16:creationId xmlns:a16="http://schemas.microsoft.com/office/drawing/2014/main" id="{14C5D5F2-1D58-5329-87C7-5BCEE1E0105F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 bwMode="auto">
          <a:xfrm>
            <a:off x="4040277" y="5250397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6" name="Freeform 12">
            <a:extLst>
              <a:ext uri="{FF2B5EF4-FFF2-40B4-BE49-F238E27FC236}">
                <a16:creationId xmlns:a16="http://schemas.microsoft.com/office/drawing/2014/main" id="{652FC5F5-8028-9BC6-DEC3-EAACB263D446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auto">
          <a:xfrm>
            <a:off x="4040277" y="5487555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7" name="Freeform 12">
            <a:extLst>
              <a:ext uri="{FF2B5EF4-FFF2-40B4-BE49-F238E27FC236}">
                <a16:creationId xmlns:a16="http://schemas.microsoft.com/office/drawing/2014/main" id="{C07FEF6B-1E72-3991-678B-B6D4F4924213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 bwMode="auto">
          <a:xfrm>
            <a:off x="4040277" y="5724713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8" name="Freeform 12">
            <a:extLst>
              <a:ext uri="{FF2B5EF4-FFF2-40B4-BE49-F238E27FC236}">
                <a16:creationId xmlns:a16="http://schemas.microsoft.com/office/drawing/2014/main" id="{7C17C131-0CD5-3122-F779-BE6458235E3E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 bwMode="auto">
          <a:xfrm>
            <a:off x="5339816" y="1693027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9" name="Freeform 12">
            <a:extLst>
              <a:ext uri="{FF2B5EF4-FFF2-40B4-BE49-F238E27FC236}">
                <a16:creationId xmlns:a16="http://schemas.microsoft.com/office/drawing/2014/main" id="{FC33A614-9ABC-CB20-799A-81C4FD84A1EC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 bwMode="auto">
          <a:xfrm>
            <a:off x="5339816" y="2167343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grpSp>
        <p:nvGrpSpPr>
          <p:cNvPr id="1070" name="Group 5">
            <a:extLst>
              <a:ext uri="{FF2B5EF4-FFF2-40B4-BE49-F238E27FC236}">
                <a16:creationId xmlns:a16="http://schemas.microsoft.com/office/drawing/2014/main" id="{38500FD0-00E9-DABB-179F-6DA932C5CE63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 bwMode="auto">
          <a:xfrm>
            <a:off x="5350344" y="1927215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71" name="Freeform 6">
              <a:extLst>
                <a:ext uri="{FF2B5EF4-FFF2-40B4-BE49-F238E27FC236}">
                  <a16:creationId xmlns:a16="http://schemas.microsoft.com/office/drawing/2014/main" id="{48AAFE26-DC3D-538D-DE98-BFB4EE5B7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72" name="Freeform 7">
              <a:extLst>
                <a:ext uri="{FF2B5EF4-FFF2-40B4-BE49-F238E27FC236}">
                  <a16:creationId xmlns:a16="http://schemas.microsoft.com/office/drawing/2014/main" id="{8EDA09AD-A7D4-FFE6-5AD5-69BCAC191074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73" name="Group 5">
            <a:extLst>
              <a:ext uri="{FF2B5EF4-FFF2-40B4-BE49-F238E27FC236}">
                <a16:creationId xmlns:a16="http://schemas.microsoft.com/office/drawing/2014/main" id="{5A1C100C-4888-22B9-F654-8A106C7F35B3}"/>
              </a:ext>
            </a:extLst>
          </p:cNvPr>
          <p:cNvGrpSpPr>
            <a:grpSpLocks noChangeAspect="1"/>
          </p:cNvGrpSpPr>
          <p:nvPr>
            <p:custDataLst>
              <p:tags r:id="rId22"/>
            </p:custDataLst>
          </p:nvPr>
        </p:nvGrpSpPr>
        <p:grpSpPr bwMode="auto">
          <a:xfrm>
            <a:off x="5350344" y="2401531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74" name="Freeform 6">
              <a:extLst>
                <a:ext uri="{FF2B5EF4-FFF2-40B4-BE49-F238E27FC236}">
                  <a16:creationId xmlns:a16="http://schemas.microsoft.com/office/drawing/2014/main" id="{9C7B80A3-DF4A-713C-A581-AC2649764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75" name="Freeform 7">
              <a:extLst>
                <a:ext uri="{FF2B5EF4-FFF2-40B4-BE49-F238E27FC236}">
                  <a16:creationId xmlns:a16="http://schemas.microsoft.com/office/drawing/2014/main" id="{65614416-031C-DB95-3598-99407851366E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sp>
        <p:nvSpPr>
          <p:cNvPr id="1076" name="Freeform 12">
            <a:extLst>
              <a:ext uri="{FF2B5EF4-FFF2-40B4-BE49-F238E27FC236}">
                <a16:creationId xmlns:a16="http://schemas.microsoft.com/office/drawing/2014/main" id="{CA4A6617-C4F2-828E-41F5-E849B47EE3E4}"/>
              </a:ext>
            </a:extLst>
          </p:cNvPr>
          <p:cNvSpPr>
            <a:spLocks noChangeAspect="1"/>
          </p:cNvSpPr>
          <p:nvPr>
            <p:custDataLst>
              <p:tags r:id="rId23"/>
            </p:custDataLst>
          </p:nvPr>
        </p:nvSpPr>
        <p:spPr bwMode="auto">
          <a:xfrm>
            <a:off x="5339816" y="2641659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77" name="Freeform 12">
            <a:extLst>
              <a:ext uri="{FF2B5EF4-FFF2-40B4-BE49-F238E27FC236}">
                <a16:creationId xmlns:a16="http://schemas.microsoft.com/office/drawing/2014/main" id="{6D39317B-FA5F-4DE4-2105-E6B76267430D}"/>
              </a:ext>
            </a:extLst>
          </p:cNvPr>
          <p:cNvSpPr>
            <a:spLocks noChangeAspect="1"/>
          </p:cNvSpPr>
          <p:nvPr>
            <p:custDataLst>
              <p:tags r:id="rId24"/>
            </p:custDataLst>
          </p:nvPr>
        </p:nvSpPr>
        <p:spPr bwMode="auto">
          <a:xfrm>
            <a:off x="5339816" y="2878817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grpSp>
        <p:nvGrpSpPr>
          <p:cNvPr id="1078" name="Group 5">
            <a:extLst>
              <a:ext uri="{FF2B5EF4-FFF2-40B4-BE49-F238E27FC236}">
                <a16:creationId xmlns:a16="http://schemas.microsoft.com/office/drawing/2014/main" id="{450E602F-483C-4CFA-7699-DB576C19B4F5}"/>
              </a:ext>
            </a:extLst>
          </p:cNvPr>
          <p:cNvGrpSpPr>
            <a:grpSpLocks noChangeAspect="1"/>
          </p:cNvGrpSpPr>
          <p:nvPr>
            <p:custDataLst>
              <p:tags r:id="rId25"/>
            </p:custDataLst>
          </p:nvPr>
        </p:nvGrpSpPr>
        <p:grpSpPr bwMode="auto">
          <a:xfrm>
            <a:off x="5350344" y="3350163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79" name="Freeform 6">
              <a:extLst>
                <a:ext uri="{FF2B5EF4-FFF2-40B4-BE49-F238E27FC236}">
                  <a16:creationId xmlns:a16="http://schemas.microsoft.com/office/drawing/2014/main" id="{EA1EAD67-BF40-D8E5-099E-7C4125D26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80" name="Freeform 7">
              <a:extLst>
                <a:ext uri="{FF2B5EF4-FFF2-40B4-BE49-F238E27FC236}">
                  <a16:creationId xmlns:a16="http://schemas.microsoft.com/office/drawing/2014/main" id="{812D122E-B6CA-FCF9-AEF7-503EEB3B3A95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81" name="Group 5">
            <a:extLst>
              <a:ext uri="{FF2B5EF4-FFF2-40B4-BE49-F238E27FC236}">
                <a16:creationId xmlns:a16="http://schemas.microsoft.com/office/drawing/2014/main" id="{239A7AF5-5C7B-EDFB-4723-FB4ADD938980}"/>
              </a:ext>
            </a:extLst>
          </p:cNvPr>
          <p:cNvGrpSpPr>
            <a:grpSpLocks noChangeAspect="1"/>
          </p:cNvGrpSpPr>
          <p:nvPr>
            <p:custDataLst>
              <p:tags r:id="rId26"/>
            </p:custDataLst>
          </p:nvPr>
        </p:nvGrpSpPr>
        <p:grpSpPr bwMode="auto">
          <a:xfrm>
            <a:off x="5350344" y="3113005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82" name="Freeform 6">
              <a:extLst>
                <a:ext uri="{FF2B5EF4-FFF2-40B4-BE49-F238E27FC236}">
                  <a16:creationId xmlns:a16="http://schemas.microsoft.com/office/drawing/2014/main" id="{A42A00A1-3E14-9201-41D0-92DAD0234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83" name="Freeform 7">
              <a:extLst>
                <a:ext uri="{FF2B5EF4-FFF2-40B4-BE49-F238E27FC236}">
                  <a16:creationId xmlns:a16="http://schemas.microsoft.com/office/drawing/2014/main" id="{2ABFDA4E-3B25-5041-AC10-1AFEE0BD58BC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84" name="Group 5">
            <a:extLst>
              <a:ext uri="{FF2B5EF4-FFF2-40B4-BE49-F238E27FC236}">
                <a16:creationId xmlns:a16="http://schemas.microsoft.com/office/drawing/2014/main" id="{FC2624BA-082A-7B94-0468-B4D2ED9B4768}"/>
              </a:ext>
            </a:extLst>
          </p:cNvPr>
          <p:cNvGrpSpPr>
            <a:grpSpLocks noChangeAspect="1"/>
          </p:cNvGrpSpPr>
          <p:nvPr>
            <p:custDataLst>
              <p:tags r:id="rId27"/>
            </p:custDataLst>
          </p:nvPr>
        </p:nvGrpSpPr>
        <p:grpSpPr bwMode="auto">
          <a:xfrm>
            <a:off x="5350344" y="3824479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85" name="Freeform 6">
              <a:extLst>
                <a:ext uri="{FF2B5EF4-FFF2-40B4-BE49-F238E27FC236}">
                  <a16:creationId xmlns:a16="http://schemas.microsoft.com/office/drawing/2014/main" id="{5DD9ACA4-6A50-6B8B-57D6-83826C7EC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86" name="Freeform 7">
              <a:extLst>
                <a:ext uri="{FF2B5EF4-FFF2-40B4-BE49-F238E27FC236}">
                  <a16:creationId xmlns:a16="http://schemas.microsoft.com/office/drawing/2014/main" id="{491DABAB-B78D-22E1-BFEC-C32AB40A1448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87" name="Group 5">
            <a:extLst>
              <a:ext uri="{FF2B5EF4-FFF2-40B4-BE49-F238E27FC236}">
                <a16:creationId xmlns:a16="http://schemas.microsoft.com/office/drawing/2014/main" id="{60B74AB4-58E5-B3EB-3C6A-D27372695C65}"/>
              </a:ext>
            </a:extLst>
          </p:cNvPr>
          <p:cNvGrpSpPr>
            <a:grpSpLocks noChangeAspect="1"/>
          </p:cNvGrpSpPr>
          <p:nvPr>
            <p:custDataLst>
              <p:tags r:id="rId28"/>
            </p:custDataLst>
          </p:nvPr>
        </p:nvGrpSpPr>
        <p:grpSpPr bwMode="auto">
          <a:xfrm>
            <a:off x="5350344" y="3587321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88" name="Freeform 6">
              <a:extLst>
                <a:ext uri="{FF2B5EF4-FFF2-40B4-BE49-F238E27FC236}">
                  <a16:creationId xmlns:a16="http://schemas.microsoft.com/office/drawing/2014/main" id="{C8CA738D-993D-6807-17DF-6CBF4CB8F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89" name="Freeform 7">
              <a:extLst>
                <a:ext uri="{FF2B5EF4-FFF2-40B4-BE49-F238E27FC236}">
                  <a16:creationId xmlns:a16="http://schemas.microsoft.com/office/drawing/2014/main" id="{AFBEAC34-C21E-7749-A597-0488738E0EB1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90" name="Group 5">
            <a:extLst>
              <a:ext uri="{FF2B5EF4-FFF2-40B4-BE49-F238E27FC236}">
                <a16:creationId xmlns:a16="http://schemas.microsoft.com/office/drawing/2014/main" id="{04C47F56-595A-E482-14E2-9AB7AFDD66A2}"/>
              </a:ext>
            </a:extLst>
          </p:cNvPr>
          <p:cNvGrpSpPr>
            <a:grpSpLocks noChangeAspect="1"/>
          </p:cNvGrpSpPr>
          <p:nvPr>
            <p:custDataLst>
              <p:tags r:id="rId29"/>
            </p:custDataLst>
          </p:nvPr>
        </p:nvGrpSpPr>
        <p:grpSpPr bwMode="auto">
          <a:xfrm>
            <a:off x="5350344" y="4298795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91" name="Freeform 6">
              <a:extLst>
                <a:ext uri="{FF2B5EF4-FFF2-40B4-BE49-F238E27FC236}">
                  <a16:creationId xmlns:a16="http://schemas.microsoft.com/office/drawing/2014/main" id="{616BE3B9-14E0-0725-9CC7-64F269C4B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92" name="Freeform 7">
              <a:extLst>
                <a:ext uri="{FF2B5EF4-FFF2-40B4-BE49-F238E27FC236}">
                  <a16:creationId xmlns:a16="http://schemas.microsoft.com/office/drawing/2014/main" id="{723734CF-41E1-845A-2BB8-939A0896EB34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93" name="Group 5">
            <a:extLst>
              <a:ext uri="{FF2B5EF4-FFF2-40B4-BE49-F238E27FC236}">
                <a16:creationId xmlns:a16="http://schemas.microsoft.com/office/drawing/2014/main" id="{C336B213-8D04-A234-3F70-2679C4E4EDE2}"/>
              </a:ext>
            </a:extLst>
          </p:cNvPr>
          <p:cNvGrpSpPr>
            <a:grpSpLocks noChangeAspect="1"/>
          </p:cNvGrpSpPr>
          <p:nvPr>
            <p:custDataLst>
              <p:tags r:id="rId30"/>
            </p:custDataLst>
          </p:nvPr>
        </p:nvGrpSpPr>
        <p:grpSpPr bwMode="auto">
          <a:xfrm>
            <a:off x="5350344" y="4061637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94" name="Freeform 6">
              <a:extLst>
                <a:ext uri="{FF2B5EF4-FFF2-40B4-BE49-F238E27FC236}">
                  <a16:creationId xmlns:a16="http://schemas.microsoft.com/office/drawing/2014/main" id="{08389DF2-494E-F93E-2D31-C9B28E312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95" name="Freeform 7">
              <a:extLst>
                <a:ext uri="{FF2B5EF4-FFF2-40B4-BE49-F238E27FC236}">
                  <a16:creationId xmlns:a16="http://schemas.microsoft.com/office/drawing/2014/main" id="{3BC1BE55-EFA4-930F-116D-509EE00FC208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96" name="Group 5">
            <a:extLst>
              <a:ext uri="{FF2B5EF4-FFF2-40B4-BE49-F238E27FC236}">
                <a16:creationId xmlns:a16="http://schemas.microsoft.com/office/drawing/2014/main" id="{E10E7AD7-071B-774B-B998-E330F6D410E1}"/>
              </a:ext>
            </a:extLst>
          </p:cNvPr>
          <p:cNvGrpSpPr>
            <a:grpSpLocks noChangeAspect="1"/>
          </p:cNvGrpSpPr>
          <p:nvPr>
            <p:custDataLst>
              <p:tags r:id="rId31"/>
            </p:custDataLst>
          </p:nvPr>
        </p:nvGrpSpPr>
        <p:grpSpPr bwMode="auto">
          <a:xfrm>
            <a:off x="5350344" y="4773111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97" name="Freeform 6">
              <a:extLst>
                <a:ext uri="{FF2B5EF4-FFF2-40B4-BE49-F238E27FC236}">
                  <a16:creationId xmlns:a16="http://schemas.microsoft.com/office/drawing/2014/main" id="{595166E9-D0CE-2935-995D-2157731BA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98" name="Freeform 7">
              <a:extLst>
                <a:ext uri="{FF2B5EF4-FFF2-40B4-BE49-F238E27FC236}">
                  <a16:creationId xmlns:a16="http://schemas.microsoft.com/office/drawing/2014/main" id="{B281C8FB-40A4-07E2-24F9-FA6D97BA3D07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99" name="Group 5">
            <a:extLst>
              <a:ext uri="{FF2B5EF4-FFF2-40B4-BE49-F238E27FC236}">
                <a16:creationId xmlns:a16="http://schemas.microsoft.com/office/drawing/2014/main" id="{92E99FC4-689A-0861-120B-0A2AB666824D}"/>
              </a:ext>
            </a:extLst>
          </p:cNvPr>
          <p:cNvGrpSpPr>
            <a:grpSpLocks noChangeAspect="1"/>
          </p:cNvGrpSpPr>
          <p:nvPr>
            <p:custDataLst>
              <p:tags r:id="rId32"/>
            </p:custDataLst>
          </p:nvPr>
        </p:nvGrpSpPr>
        <p:grpSpPr bwMode="auto">
          <a:xfrm>
            <a:off x="5350344" y="4535953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00" name="Freeform 6">
              <a:extLst>
                <a:ext uri="{FF2B5EF4-FFF2-40B4-BE49-F238E27FC236}">
                  <a16:creationId xmlns:a16="http://schemas.microsoft.com/office/drawing/2014/main" id="{C3C2C1C3-4C1F-5485-C9B3-B2C695C8E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01" name="Freeform 7">
              <a:extLst>
                <a:ext uri="{FF2B5EF4-FFF2-40B4-BE49-F238E27FC236}">
                  <a16:creationId xmlns:a16="http://schemas.microsoft.com/office/drawing/2014/main" id="{AC5476AE-CFCA-1BA6-71E6-C1FCDE7F189B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102" name="Group 5">
            <a:extLst>
              <a:ext uri="{FF2B5EF4-FFF2-40B4-BE49-F238E27FC236}">
                <a16:creationId xmlns:a16="http://schemas.microsoft.com/office/drawing/2014/main" id="{68E436F4-6D7B-B383-A09F-BB44BC0C7381}"/>
              </a:ext>
            </a:extLst>
          </p:cNvPr>
          <p:cNvGrpSpPr>
            <a:grpSpLocks noChangeAspect="1"/>
          </p:cNvGrpSpPr>
          <p:nvPr>
            <p:custDataLst>
              <p:tags r:id="rId33"/>
            </p:custDataLst>
          </p:nvPr>
        </p:nvGrpSpPr>
        <p:grpSpPr bwMode="auto">
          <a:xfrm>
            <a:off x="5350344" y="5247427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03" name="Freeform 6">
              <a:extLst>
                <a:ext uri="{FF2B5EF4-FFF2-40B4-BE49-F238E27FC236}">
                  <a16:creationId xmlns:a16="http://schemas.microsoft.com/office/drawing/2014/main" id="{E5252AB3-2980-6F4B-E681-E6CEDBDED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04" name="Freeform 7">
              <a:extLst>
                <a:ext uri="{FF2B5EF4-FFF2-40B4-BE49-F238E27FC236}">
                  <a16:creationId xmlns:a16="http://schemas.microsoft.com/office/drawing/2014/main" id="{EB324254-6158-4426-E890-36D5CA1E7DCD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105" name="Group 5">
            <a:extLst>
              <a:ext uri="{FF2B5EF4-FFF2-40B4-BE49-F238E27FC236}">
                <a16:creationId xmlns:a16="http://schemas.microsoft.com/office/drawing/2014/main" id="{1AECDC03-C886-3D15-8348-17C98CF6CF62}"/>
              </a:ext>
            </a:extLst>
          </p:cNvPr>
          <p:cNvGrpSpPr>
            <a:grpSpLocks noChangeAspect="1"/>
          </p:cNvGrpSpPr>
          <p:nvPr>
            <p:custDataLst>
              <p:tags r:id="rId34"/>
            </p:custDataLst>
          </p:nvPr>
        </p:nvGrpSpPr>
        <p:grpSpPr bwMode="auto">
          <a:xfrm>
            <a:off x="5350344" y="5010269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06" name="Freeform 6">
              <a:extLst>
                <a:ext uri="{FF2B5EF4-FFF2-40B4-BE49-F238E27FC236}">
                  <a16:creationId xmlns:a16="http://schemas.microsoft.com/office/drawing/2014/main" id="{482BC1E5-90E9-77AB-2CED-A8724F89A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07" name="Freeform 7">
              <a:extLst>
                <a:ext uri="{FF2B5EF4-FFF2-40B4-BE49-F238E27FC236}">
                  <a16:creationId xmlns:a16="http://schemas.microsoft.com/office/drawing/2014/main" id="{7F9ABA4B-D024-A5C1-3031-89BD010E5050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108" name="Group 5">
            <a:extLst>
              <a:ext uri="{FF2B5EF4-FFF2-40B4-BE49-F238E27FC236}">
                <a16:creationId xmlns:a16="http://schemas.microsoft.com/office/drawing/2014/main" id="{AAE87B51-3D20-209F-4904-6AE8DF994FFF}"/>
              </a:ext>
            </a:extLst>
          </p:cNvPr>
          <p:cNvGrpSpPr>
            <a:grpSpLocks noChangeAspect="1"/>
          </p:cNvGrpSpPr>
          <p:nvPr>
            <p:custDataLst>
              <p:tags r:id="rId35"/>
            </p:custDataLst>
          </p:nvPr>
        </p:nvGrpSpPr>
        <p:grpSpPr bwMode="auto">
          <a:xfrm>
            <a:off x="5350344" y="5721743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09" name="Freeform 6">
              <a:extLst>
                <a:ext uri="{FF2B5EF4-FFF2-40B4-BE49-F238E27FC236}">
                  <a16:creationId xmlns:a16="http://schemas.microsoft.com/office/drawing/2014/main" id="{9BBE0268-0B3C-6892-8161-1365CDEBB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10" name="Freeform 7">
              <a:extLst>
                <a:ext uri="{FF2B5EF4-FFF2-40B4-BE49-F238E27FC236}">
                  <a16:creationId xmlns:a16="http://schemas.microsoft.com/office/drawing/2014/main" id="{4D137FF1-5E54-082C-22B0-F4D6FDB798F9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111" name="Group 5">
            <a:extLst>
              <a:ext uri="{FF2B5EF4-FFF2-40B4-BE49-F238E27FC236}">
                <a16:creationId xmlns:a16="http://schemas.microsoft.com/office/drawing/2014/main" id="{47774E83-F2E9-4175-4787-2F3053618EF9}"/>
              </a:ext>
            </a:extLst>
          </p:cNvPr>
          <p:cNvGrpSpPr>
            <a:grpSpLocks noChangeAspect="1"/>
          </p:cNvGrpSpPr>
          <p:nvPr>
            <p:custDataLst>
              <p:tags r:id="rId36"/>
            </p:custDataLst>
          </p:nvPr>
        </p:nvGrpSpPr>
        <p:grpSpPr bwMode="auto">
          <a:xfrm>
            <a:off x="5350344" y="5484585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12" name="Freeform 6">
              <a:extLst>
                <a:ext uri="{FF2B5EF4-FFF2-40B4-BE49-F238E27FC236}">
                  <a16:creationId xmlns:a16="http://schemas.microsoft.com/office/drawing/2014/main" id="{C19FD9C4-E1C2-7DA4-BCED-FB741FD93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13" name="Freeform 7">
              <a:extLst>
                <a:ext uri="{FF2B5EF4-FFF2-40B4-BE49-F238E27FC236}">
                  <a16:creationId xmlns:a16="http://schemas.microsoft.com/office/drawing/2014/main" id="{971B3C14-AEF5-3D15-A3CD-EF40B73A05AC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pic>
        <p:nvPicPr>
          <p:cNvPr id="1115" name="Picture 4" descr="Internal Icons - Free SVG &amp; PNG Internal Images - Noun Project">
            <a:extLst>
              <a:ext uri="{FF2B5EF4-FFF2-40B4-BE49-F238E27FC236}">
                <a16:creationId xmlns:a16="http://schemas.microsoft.com/office/drawing/2014/main" id="{065445D7-7C8C-6D2F-60D7-A770214BB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600" y="4798416"/>
            <a:ext cx="459221" cy="459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4" name="Picture 2" descr="External Link Icon Png #320586 - Free Icons Library">
            <a:extLst>
              <a:ext uri="{FF2B5EF4-FFF2-40B4-BE49-F238E27FC236}">
                <a16:creationId xmlns:a16="http://schemas.microsoft.com/office/drawing/2014/main" id="{BB06BC38-ABA0-A93A-19C8-CBAFAD851A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600" y="2652369"/>
            <a:ext cx="459221" cy="459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32" name="Gruppieren 253">
            <a:extLst>
              <a:ext uri="{FF2B5EF4-FFF2-40B4-BE49-F238E27FC236}">
                <a16:creationId xmlns:a16="http://schemas.microsoft.com/office/drawing/2014/main" id="{A6370DFC-FF4A-F28F-AB30-1D5EBF6F6AFB}"/>
              </a:ext>
            </a:extLst>
          </p:cNvPr>
          <p:cNvGrpSpPr/>
          <p:nvPr/>
        </p:nvGrpSpPr>
        <p:grpSpPr>
          <a:xfrm>
            <a:off x="7966272" y="1950055"/>
            <a:ext cx="224648" cy="224648"/>
            <a:chOff x="9787094" y="3428364"/>
            <a:chExt cx="436765" cy="436765"/>
          </a:xfrm>
        </p:grpSpPr>
        <p:sp>
          <p:nvSpPr>
            <p:cNvPr id="1133" name="Oval 51">
              <a:extLst>
                <a:ext uri="{FF2B5EF4-FFF2-40B4-BE49-F238E27FC236}">
                  <a16:creationId xmlns:a16="http://schemas.microsoft.com/office/drawing/2014/main" id="{6C6A7274-A36A-A942-48ED-9038223D6F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34" name="Grafik 252" descr="Daumen-hoch-Zeichen">
              <a:extLst>
                <a:ext uri="{FF2B5EF4-FFF2-40B4-BE49-F238E27FC236}">
                  <a16:creationId xmlns:a16="http://schemas.microsoft.com/office/drawing/2014/main" id="{3DF7C23E-FCAF-B5DC-B5F4-30A65F0AA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41" name="Gruppieren 253">
            <a:extLst>
              <a:ext uri="{FF2B5EF4-FFF2-40B4-BE49-F238E27FC236}">
                <a16:creationId xmlns:a16="http://schemas.microsoft.com/office/drawing/2014/main" id="{2047DFEA-373E-FEEB-3E73-6C34C72B36A8}"/>
              </a:ext>
            </a:extLst>
          </p:cNvPr>
          <p:cNvGrpSpPr/>
          <p:nvPr/>
        </p:nvGrpSpPr>
        <p:grpSpPr>
          <a:xfrm>
            <a:off x="7966272" y="2661529"/>
            <a:ext cx="224648" cy="224648"/>
            <a:chOff x="9787094" y="3428364"/>
            <a:chExt cx="436765" cy="436765"/>
          </a:xfrm>
        </p:grpSpPr>
        <p:sp>
          <p:nvSpPr>
            <p:cNvPr id="1142" name="Oval 51">
              <a:extLst>
                <a:ext uri="{FF2B5EF4-FFF2-40B4-BE49-F238E27FC236}">
                  <a16:creationId xmlns:a16="http://schemas.microsoft.com/office/drawing/2014/main" id="{3BF5EE4B-97EE-6515-04EE-179D39B3BF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43" name="Grafik 252" descr="Daumen-hoch-Zeichen">
              <a:extLst>
                <a:ext uri="{FF2B5EF4-FFF2-40B4-BE49-F238E27FC236}">
                  <a16:creationId xmlns:a16="http://schemas.microsoft.com/office/drawing/2014/main" id="{CAE746EF-878F-EC8E-B834-AFFEFB77054D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44" name="Gruppieren 253">
            <a:extLst>
              <a:ext uri="{FF2B5EF4-FFF2-40B4-BE49-F238E27FC236}">
                <a16:creationId xmlns:a16="http://schemas.microsoft.com/office/drawing/2014/main" id="{5385BCB6-73E3-DBDD-5A5E-1917A072CEBF}"/>
              </a:ext>
            </a:extLst>
          </p:cNvPr>
          <p:cNvGrpSpPr/>
          <p:nvPr/>
        </p:nvGrpSpPr>
        <p:grpSpPr>
          <a:xfrm>
            <a:off x="7966272" y="2898687"/>
            <a:ext cx="224648" cy="224648"/>
            <a:chOff x="9787094" y="3428364"/>
            <a:chExt cx="436765" cy="436765"/>
          </a:xfrm>
        </p:grpSpPr>
        <p:sp>
          <p:nvSpPr>
            <p:cNvPr id="1145" name="Oval 51">
              <a:extLst>
                <a:ext uri="{FF2B5EF4-FFF2-40B4-BE49-F238E27FC236}">
                  <a16:creationId xmlns:a16="http://schemas.microsoft.com/office/drawing/2014/main" id="{CB31A23C-F3D8-8A48-3B71-BDE87371EE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46" name="Grafik 252" descr="Daumen-hoch-Zeichen">
              <a:extLst>
                <a:ext uri="{FF2B5EF4-FFF2-40B4-BE49-F238E27FC236}">
                  <a16:creationId xmlns:a16="http://schemas.microsoft.com/office/drawing/2014/main" id="{FF8507DA-3BE2-98B4-2700-23032D23D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50" name="Gruppieren 253">
            <a:extLst>
              <a:ext uri="{FF2B5EF4-FFF2-40B4-BE49-F238E27FC236}">
                <a16:creationId xmlns:a16="http://schemas.microsoft.com/office/drawing/2014/main" id="{6BF02B54-1915-A962-D2DD-223FE251C420}"/>
              </a:ext>
            </a:extLst>
          </p:cNvPr>
          <p:cNvGrpSpPr/>
          <p:nvPr/>
        </p:nvGrpSpPr>
        <p:grpSpPr>
          <a:xfrm>
            <a:off x="7966272" y="3610161"/>
            <a:ext cx="224648" cy="224648"/>
            <a:chOff x="9787094" y="3428364"/>
            <a:chExt cx="436765" cy="436765"/>
          </a:xfrm>
        </p:grpSpPr>
        <p:sp>
          <p:nvSpPr>
            <p:cNvPr id="1151" name="Oval 51">
              <a:extLst>
                <a:ext uri="{FF2B5EF4-FFF2-40B4-BE49-F238E27FC236}">
                  <a16:creationId xmlns:a16="http://schemas.microsoft.com/office/drawing/2014/main" id="{DC1F1769-6AA9-F705-165B-7E80F11C87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52" name="Grafik 252" descr="Daumen-hoch-Zeichen">
              <a:extLst>
                <a:ext uri="{FF2B5EF4-FFF2-40B4-BE49-F238E27FC236}">
                  <a16:creationId xmlns:a16="http://schemas.microsoft.com/office/drawing/2014/main" id="{B1B39ACD-9CD5-8D19-DED0-C22957974038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62" name="Gruppieren 253">
            <a:extLst>
              <a:ext uri="{FF2B5EF4-FFF2-40B4-BE49-F238E27FC236}">
                <a16:creationId xmlns:a16="http://schemas.microsoft.com/office/drawing/2014/main" id="{B0390987-8FCF-3B23-7BF1-F6DA93E3E0A9}"/>
              </a:ext>
            </a:extLst>
          </p:cNvPr>
          <p:cNvGrpSpPr/>
          <p:nvPr/>
        </p:nvGrpSpPr>
        <p:grpSpPr>
          <a:xfrm>
            <a:off x="7966272" y="4795951"/>
            <a:ext cx="224648" cy="224648"/>
            <a:chOff x="9787094" y="3428364"/>
            <a:chExt cx="436765" cy="436765"/>
          </a:xfrm>
        </p:grpSpPr>
        <p:sp>
          <p:nvSpPr>
            <p:cNvPr id="1163" name="Oval 51">
              <a:extLst>
                <a:ext uri="{FF2B5EF4-FFF2-40B4-BE49-F238E27FC236}">
                  <a16:creationId xmlns:a16="http://schemas.microsoft.com/office/drawing/2014/main" id="{A237A8BF-5BC7-EBDC-8E50-F6C3FC13DF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64" name="Grafik 252" descr="Daumen-hoch-Zeichen">
              <a:extLst>
                <a:ext uri="{FF2B5EF4-FFF2-40B4-BE49-F238E27FC236}">
                  <a16:creationId xmlns:a16="http://schemas.microsoft.com/office/drawing/2014/main" id="{BC6A3675-FD7F-2C0F-F89D-68941CC35C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68" name="Gruppieren 253">
            <a:extLst>
              <a:ext uri="{FF2B5EF4-FFF2-40B4-BE49-F238E27FC236}">
                <a16:creationId xmlns:a16="http://schemas.microsoft.com/office/drawing/2014/main" id="{BB5468F9-BEA3-833E-CB2B-C79A2F9C7045}"/>
              </a:ext>
            </a:extLst>
          </p:cNvPr>
          <p:cNvGrpSpPr/>
          <p:nvPr/>
        </p:nvGrpSpPr>
        <p:grpSpPr>
          <a:xfrm>
            <a:off x="7966272" y="4558793"/>
            <a:ext cx="224648" cy="224648"/>
            <a:chOff x="9787094" y="3428364"/>
            <a:chExt cx="436765" cy="436765"/>
          </a:xfrm>
        </p:grpSpPr>
        <p:sp>
          <p:nvSpPr>
            <p:cNvPr id="1169" name="Oval 51">
              <a:extLst>
                <a:ext uri="{FF2B5EF4-FFF2-40B4-BE49-F238E27FC236}">
                  <a16:creationId xmlns:a16="http://schemas.microsoft.com/office/drawing/2014/main" id="{9210A734-1E5C-0EDA-5F59-49254464E0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70" name="Grafik 252" descr="Daumen-hoch-Zeichen">
              <a:extLst>
                <a:ext uri="{FF2B5EF4-FFF2-40B4-BE49-F238E27FC236}">
                  <a16:creationId xmlns:a16="http://schemas.microsoft.com/office/drawing/2014/main" id="{87E7A70B-7EFA-119D-947D-44CEE97FE9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71" name="Gruppieren 253">
            <a:extLst>
              <a:ext uri="{FF2B5EF4-FFF2-40B4-BE49-F238E27FC236}">
                <a16:creationId xmlns:a16="http://schemas.microsoft.com/office/drawing/2014/main" id="{AE2F3E37-DFAE-02B4-EB4A-A1CC988B08AF}"/>
              </a:ext>
            </a:extLst>
          </p:cNvPr>
          <p:cNvGrpSpPr/>
          <p:nvPr/>
        </p:nvGrpSpPr>
        <p:grpSpPr>
          <a:xfrm>
            <a:off x="7966272" y="4084477"/>
            <a:ext cx="224648" cy="224648"/>
            <a:chOff x="9787094" y="3428364"/>
            <a:chExt cx="436765" cy="436765"/>
          </a:xfrm>
        </p:grpSpPr>
        <p:sp>
          <p:nvSpPr>
            <p:cNvPr id="1172" name="Oval 51">
              <a:extLst>
                <a:ext uri="{FF2B5EF4-FFF2-40B4-BE49-F238E27FC236}">
                  <a16:creationId xmlns:a16="http://schemas.microsoft.com/office/drawing/2014/main" id="{5174A4CD-7BF7-5976-055E-078E444BD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73" name="Grafik 252" descr="Daumen-hoch-Zeichen">
              <a:extLst>
                <a:ext uri="{FF2B5EF4-FFF2-40B4-BE49-F238E27FC236}">
                  <a16:creationId xmlns:a16="http://schemas.microsoft.com/office/drawing/2014/main" id="{76C69588-8432-6238-F244-DE9B4BBA7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74" name="Gruppieren 253">
            <a:extLst>
              <a:ext uri="{FF2B5EF4-FFF2-40B4-BE49-F238E27FC236}">
                <a16:creationId xmlns:a16="http://schemas.microsoft.com/office/drawing/2014/main" id="{3CC4A126-EA61-E97A-FF3E-E162C0CFF4EC}"/>
              </a:ext>
            </a:extLst>
          </p:cNvPr>
          <p:cNvGrpSpPr/>
          <p:nvPr/>
        </p:nvGrpSpPr>
        <p:grpSpPr>
          <a:xfrm>
            <a:off x="7966272" y="5744583"/>
            <a:ext cx="224648" cy="224648"/>
            <a:chOff x="9787094" y="3428364"/>
            <a:chExt cx="436765" cy="436765"/>
          </a:xfrm>
        </p:grpSpPr>
        <p:sp>
          <p:nvSpPr>
            <p:cNvPr id="1175" name="Oval 51">
              <a:extLst>
                <a:ext uri="{FF2B5EF4-FFF2-40B4-BE49-F238E27FC236}">
                  <a16:creationId xmlns:a16="http://schemas.microsoft.com/office/drawing/2014/main" id="{857A2E99-9F99-003C-DA95-961AD8B54F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76" name="Grafik 252" descr="Daumen-hoch-Zeichen">
              <a:extLst>
                <a:ext uri="{FF2B5EF4-FFF2-40B4-BE49-F238E27FC236}">
                  <a16:creationId xmlns:a16="http://schemas.microsoft.com/office/drawing/2014/main" id="{0918EAC8-1DC5-0ECE-ADEE-B9FCEFC783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77" name="Gruppieren 253">
            <a:extLst>
              <a:ext uri="{FF2B5EF4-FFF2-40B4-BE49-F238E27FC236}">
                <a16:creationId xmlns:a16="http://schemas.microsoft.com/office/drawing/2014/main" id="{93EBD57B-E211-CBE3-5FCF-9E42D0B6449B}"/>
              </a:ext>
            </a:extLst>
          </p:cNvPr>
          <p:cNvGrpSpPr/>
          <p:nvPr/>
        </p:nvGrpSpPr>
        <p:grpSpPr>
          <a:xfrm>
            <a:off x="7966272" y="5507425"/>
            <a:ext cx="224648" cy="224648"/>
            <a:chOff x="9787094" y="3428364"/>
            <a:chExt cx="436765" cy="436765"/>
          </a:xfrm>
        </p:grpSpPr>
        <p:sp>
          <p:nvSpPr>
            <p:cNvPr id="1178" name="Oval 51">
              <a:extLst>
                <a:ext uri="{FF2B5EF4-FFF2-40B4-BE49-F238E27FC236}">
                  <a16:creationId xmlns:a16="http://schemas.microsoft.com/office/drawing/2014/main" id="{D83776BB-9542-913E-5A15-FFE4ABE4B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79" name="Grafik 252" descr="Daumen-hoch-Zeichen">
              <a:extLst>
                <a:ext uri="{FF2B5EF4-FFF2-40B4-BE49-F238E27FC236}">
                  <a16:creationId xmlns:a16="http://schemas.microsoft.com/office/drawing/2014/main" id="{709EE876-6A6F-8006-A06A-E4E256840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80" name="Gruppieren 253">
            <a:extLst>
              <a:ext uri="{FF2B5EF4-FFF2-40B4-BE49-F238E27FC236}">
                <a16:creationId xmlns:a16="http://schemas.microsoft.com/office/drawing/2014/main" id="{110B6502-540F-ACC1-60B5-EEF2058202E4}"/>
              </a:ext>
            </a:extLst>
          </p:cNvPr>
          <p:cNvGrpSpPr/>
          <p:nvPr/>
        </p:nvGrpSpPr>
        <p:grpSpPr>
          <a:xfrm>
            <a:off x="7966272" y="5270267"/>
            <a:ext cx="224648" cy="224648"/>
            <a:chOff x="9787094" y="3428364"/>
            <a:chExt cx="436765" cy="436765"/>
          </a:xfrm>
        </p:grpSpPr>
        <p:sp>
          <p:nvSpPr>
            <p:cNvPr id="1181" name="Oval 51">
              <a:extLst>
                <a:ext uri="{FF2B5EF4-FFF2-40B4-BE49-F238E27FC236}">
                  <a16:creationId xmlns:a16="http://schemas.microsoft.com/office/drawing/2014/main" id="{424BEFF8-B812-4AC5-7975-6E5CFADE5B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82" name="Grafik 252" descr="Daumen-hoch-Zeichen">
              <a:extLst>
                <a:ext uri="{FF2B5EF4-FFF2-40B4-BE49-F238E27FC236}">
                  <a16:creationId xmlns:a16="http://schemas.microsoft.com/office/drawing/2014/main" id="{A23B7B3B-9B46-35CD-E314-D5B01BA0C4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sp>
        <p:nvSpPr>
          <p:cNvPr id="1188" name="TextBox 1187">
            <a:extLst>
              <a:ext uri="{FF2B5EF4-FFF2-40B4-BE49-F238E27FC236}">
                <a16:creationId xmlns:a16="http://schemas.microsoft.com/office/drawing/2014/main" id="{BC4A82D4-4236-7598-A609-A669872E728F}"/>
              </a:ext>
            </a:extLst>
          </p:cNvPr>
          <p:cNvSpPr txBox="1"/>
          <p:nvPr/>
        </p:nvSpPr>
        <p:spPr>
          <a:xfrm>
            <a:off x="9289473" y="1279921"/>
            <a:ext cx="2213263" cy="41012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b="1">
                <a:solidFill>
                  <a:schemeClr val="tx2"/>
                </a:solidFill>
              </a:rPr>
              <a:t>Key Take-Aways</a:t>
            </a:r>
          </a:p>
        </p:txBody>
      </p:sp>
      <p:cxnSp>
        <p:nvCxnSpPr>
          <p:cNvPr id="1190" name="Straight Connector 1189">
            <a:extLst>
              <a:ext uri="{FF2B5EF4-FFF2-40B4-BE49-F238E27FC236}">
                <a16:creationId xmlns:a16="http://schemas.microsoft.com/office/drawing/2014/main" id="{0ADB8FE9-874A-86DB-91D5-0EEACBD074E6}"/>
              </a:ext>
            </a:extLst>
          </p:cNvPr>
          <p:cNvCxnSpPr/>
          <p:nvPr/>
        </p:nvCxnSpPr>
        <p:spPr>
          <a:xfrm>
            <a:off x="9240709" y="1702154"/>
            <a:ext cx="2286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2" name="TextBox 1191">
            <a:extLst>
              <a:ext uri="{FF2B5EF4-FFF2-40B4-BE49-F238E27FC236}">
                <a16:creationId xmlns:a16="http://schemas.microsoft.com/office/drawing/2014/main" id="{13E720E7-5D10-E093-2742-D2FAC87C686E}"/>
              </a:ext>
            </a:extLst>
          </p:cNvPr>
          <p:cNvSpPr txBox="1"/>
          <p:nvPr/>
        </p:nvSpPr>
        <p:spPr>
          <a:xfrm>
            <a:off x="9240709" y="1822307"/>
            <a:ext cx="2285998" cy="41469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/>
              <a:t>All the </a:t>
            </a:r>
            <a:r>
              <a:rPr lang="en-US" sz="1600" b="1"/>
              <a:t>data was easily accessible </a:t>
            </a:r>
            <a:r>
              <a:rPr lang="en-US" sz="1600"/>
              <a:t>and available to the public without any restrictions</a:t>
            </a:r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endParaRPr lang="en-US" sz="1600"/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/>
              <a:t>Of a few features, we </a:t>
            </a:r>
            <a:r>
              <a:rPr lang="en-US" sz="1600" b="1"/>
              <a:t>incorporated lag features</a:t>
            </a:r>
            <a:r>
              <a:rPr lang="en-US" sz="1600"/>
              <a:t> to account for historic changes and patterns</a:t>
            </a:r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endParaRPr lang="en-US" sz="1600"/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/>
              <a:t>Several </a:t>
            </a:r>
            <a:r>
              <a:rPr lang="en-US" sz="1600" b="1"/>
              <a:t>external features </a:t>
            </a:r>
            <a:r>
              <a:rPr lang="en-US" sz="1600"/>
              <a:t>were highly important to our model performance (</a:t>
            </a:r>
            <a:r>
              <a:rPr lang="en-US" sz="1600" b="1"/>
              <a:t>GSCPI and USIR</a:t>
            </a:r>
            <a:r>
              <a:rPr lang="en-US" sz="1600"/>
              <a:t>)</a:t>
            </a:r>
            <a:endParaRPr lang="en-US" sz="1600">
              <a:highlight>
                <a:srgbClr val="FFFF00"/>
              </a:highlight>
            </a:endParaRPr>
          </a:p>
        </p:txBody>
      </p:sp>
      <p:grpSp>
        <p:nvGrpSpPr>
          <p:cNvPr id="6" name="flowarrow16x9">
            <a:extLst>
              <a:ext uri="{FF2B5EF4-FFF2-40B4-BE49-F238E27FC236}">
                <a16:creationId xmlns:a16="http://schemas.microsoft.com/office/drawing/2014/main" id="{FA122F22-6916-86A7-2EBC-3D135D56DA3D}"/>
              </a:ext>
            </a:extLst>
          </p:cNvPr>
          <p:cNvGrpSpPr/>
          <p:nvPr/>
        </p:nvGrpSpPr>
        <p:grpSpPr bwMode="gray">
          <a:xfrm>
            <a:off x="8805445" y="1432331"/>
            <a:ext cx="306910" cy="4451985"/>
            <a:chOff x="5942545" y="1857375"/>
            <a:chExt cx="306910" cy="4451985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A029949-D633-5AFC-1D48-30D84BEBD3C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096000" y="1857375"/>
              <a:ext cx="0" cy="4451985"/>
            </a:xfrm>
            <a:prstGeom prst="line">
              <a:avLst/>
            </a:prstGeom>
            <a:noFill/>
            <a:ln w="9525" cap="rnd" cmpd="sng" algn="ctr">
              <a:solidFill>
                <a:srgbClr val="75737D"/>
              </a:solidFill>
              <a:prstDash val="solid"/>
              <a:round/>
            </a:ln>
            <a:effectLst/>
          </p:spPr>
        </p:cxnSp>
        <p:grpSp>
          <p:nvGrpSpPr>
            <p:cNvPr id="1189" name="Group 1188">
              <a:extLst>
                <a:ext uri="{FF2B5EF4-FFF2-40B4-BE49-F238E27FC236}">
                  <a16:creationId xmlns:a16="http://schemas.microsoft.com/office/drawing/2014/main" id="{04DC888E-060A-7E1D-6B0C-89E1F250FB72}"/>
                </a:ext>
              </a:extLst>
            </p:cNvPr>
            <p:cNvGrpSpPr/>
            <p:nvPr/>
          </p:nvGrpSpPr>
          <p:grpSpPr bwMode="gray">
            <a:xfrm>
              <a:off x="5942545" y="3929912"/>
              <a:ext cx="306910" cy="306910"/>
              <a:chOff x="6313199" y="4229315"/>
              <a:chExt cx="306910" cy="306910"/>
            </a:xfrm>
          </p:grpSpPr>
          <p:sp>
            <p:nvSpPr>
              <p:cNvPr id="1193" name="Oval 50">
                <a:extLst>
                  <a:ext uri="{FF2B5EF4-FFF2-40B4-BE49-F238E27FC236}">
                    <a16:creationId xmlns:a16="http://schemas.microsoft.com/office/drawing/2014/main" id="{FDD32FCF-8C3A-26F8-2192-EE96E4C37ED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313199" y="4229315"/>
                <a:ext cx="306910" cy="30691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194" name="Group 1193">
                <a:extLst>
                  <a:ext uri="{FF2B5EF4-FFF2-40B4-BE49-F238E27FC236}">
                    <a16:creationId xmlns:a16="http://schemas.microsoft.com/office/drawing/2014/main" id="{10417407-B613-7660-ADEE-D15AEAF9B02F}"/>
                  </a:ext>
                </a:extLst>
              </p:cNvPr>
              <p:cNvGrpSpPr/>
              <p:nvPr/>
            </p:nvGrpSpPr>
            <p:grpSpPr bwMode="gray">
              <a:xfrm>
                <a:off x="6399804" y="4314508"/>
                <a:ext cx="140052" cy="136525"/>
                <a:chOff x="6405478" y="4314507"/>
                <a:chExt cx="140052" cy="136525"/>
              </a:xfrm>
            </p:grpSpPr>
            <p:sp>
              <p:nvSpPr>
                <p:cNvPr id="1195" name="Arrow: Chevron 373">
                  <a:extLst>
                    <a:ext uri="{FF2B5EF4-FFF2-40B4-BE49-F238E27FC236}">
                      <a16:creationId xmlns:a16="http://schemas.microsoft.com/office/drawing/2014/main" id="{7A7CFBE9-B7D4-6CD1-1C5B-0850429A4392}"/>
                    </a:ext>
                  </a:extLst>
                </p:cNvPr>
                <p:cNvSpPr/>
                <p:nvPr/>
              </p:nvSpPr>
              <p:spPr bwMode="gray">
                <a:xfrm>
                  <a:off x="6405478" y="4314507"/>
                  <a:ext cx="74784" cy="136525"/>
                </a:xfrm>
                <a:prstGeom prst="chevron">
                  <a:avLst>
                    <a:gd name="adj" fmla="val 71053"/>
                  </a:avLst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6" name="Arrow: Chevron 374">
                  <a:extLst>
                    <a:ext uri="{FF2B5EF4-FFF2-40B4-BE49-F238E27FC236}">
                      <a16:creationId xmlns:a16="http://schemas.microsoft.com/office/drawing/2014/main" id="{43D9DC65-336C-32E3-60F2-0720CB7F53CD}"/>
                    </a:ext>
                  </a:extLst>
                </p:cNvPr>
                <p:cNvSpPr/>
                <p:nvPr/>
              </p:nvSpPr>
              <p:spPr bwMode="gray">
                <a:xfrm>
                  <a:off x="6470746" y="4314507"/>
                  <a:ext cx="74784" cy="136525"/>
                </a:xfrm>
                <a:prstGeom prst="chevron">
                  <a:avLst>
                    <a:gd name="adj" fmla="val 71053"/>
                  </a:avLst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9" name="Gruppieren 257">
            <a:extLst>
              <a:ext uri="{FF2B5EF4-FFF2-40B4-BE49-F238E27FC236}">
                <a16:creationId xmlns:a16="http://schemas.microsoft.com/office/drawing/2014/main" id="{EFDA6CA4-4A39-5C69-6267-E0EA5787AA50}"/>
              </a:ext>
            </a:extLst>
          </p:cNvPr>
          <p:cNvGrpSpPr/>
          <p:nvPr/>
        </p:nvGrpSpPr>
        <p:grpSpPr>
          <a:xfrm>
            <a:off x="7966272" y="3135845"/>
            <a:ext cx="224648" cy="224648"/>
            <a:chOff x="10357465" y="3428364"/>
            <a:chExt cx="436765" cy="436765"/>
          </a:xfrm>
        </p:grpSpPr>
        <p:sp>
          <p:nvSpPr>
            <p:cNvPr id="11" name="Oval 51">
              <a:extLst>
                <a:ext uri="{FF2B5EF4-FFF2-40B4-BE49-F238E27FC236}">
                  <a16:creationId xmlns:a16="http://schemas.microsoft.com/office/drawing/2014/main" id="{D99C9E9B-DC9A-DC0B-A48A-B2539E8B7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7465" y="3428364"/>
              <a:ext cx="436765" cy="436765"/>
            </a:xfrm>
            <a:prstGeom prst="ellipse">
              <a:avLst/>
            </a:prstGeom>
            <a:solidFill>
              <a:srgbClr val="F04C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2" name="Grafik 256" descr="Daumen-hoch-Zeichen">
              <a:extLst>
                <a:ext uri="{FF2B5EF4-FFF2-40B4-BE49-F238E27FC236}">
                  <a16:creationId xmlns:a16="http://schemas.microsoft.com/office/drawing/2014/main" id="{A1D7D712-1CEF-FA86-9D95-F4941D3901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 rot="10800000">
              <a:off x="10408522" y="3474756"/>
              <a:ext cx="341444" cy="341444"/>
            </a:xfrm>
            <a:prstGeom prst="rect">
              <a:avLst/>
            </a:prstGeom>
          </p:spPr>
        </p:pic>
      </p:grpSp>
      <p:grpSp>
        <p:nvGrpSpPr>
          <p:cNvPr id="13" name="Gruppieren 253">
            <a:extLst>
              <a:ext uri="{FF2B5EF4-FFF2-40B4-BE49-F238E27FC236}">
                <a16:creationId xmlns:a16="http://schemas.microsoft.com/office/drawing/2014/main" id="{EA197FCA-AF4F-7F4D-275E-EA5B9A7CC1DB}"/>
              </a:ext>
            </a:extLst>
          </p:cNvPr>
          <p:cNvGrpSpPr/>
          <p:nvPr/>
        </p:nvGrpSpPr>
        <p:grpSpPr>
          <a:xfrm>
            <a:off x="7966272" y="2424371"/>
            <a:ext cx="224648" cy="224648"/>
            <a:chOff x="9787094" y="3428364"/>
            <a:chExt cx="436765" cy="436765"/>
          </a:xfrm>
        </p:grpSpPr>
        <p:sp>
          <p:nvSpPr>
            <p:cNvPr id="14" name="Oval 51">
              <a:extLst>
                <a:ext uri="{FF2B5EF4-FFF2-40B4-BE49-F238E27FC236}">
                  <a16:creationId xmlns:a16="http://schemas.microsoft.com/office/drawing/2014/main" id="{48AC26D7-B307-B26D-AB04-2A1E9E9212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5" name="Grafik 252" descr="Daumen-hoch-Zeichen">
              <a:extLst>
                <a:ext uri="{FF2B5EF4-FFF2-40B4-BE49-F238E27FC236}">
                  <a16:creationId xmlns:a16="http://schemas.microsoft.com/office/drawing/2014/main" id="{6CB62DC0-0F75-FF97-B41B-71B92FBD3B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6" name="Gruppieren 253">
            <a:extLst>
              <a:ext uri="{FF2B5EF4-FFF2-40B4-BE49-F238E27FC236}">
                <a16:creationId xmlns:a16="http://schemas.microsoft.com/office/drawing/2014/main" id="{7F8A9EB3-D36B-0A55-00EA-29AD9C1ABDF0}"/>
              </a:ext>
            </a:extLst>
          </p:cNvPr>
          <p:cNvGrpSpPr/>
          <p:nvPr/>
        </p:nvGrpSpPr>
        <p:grpSpPr>
          <a:xfrm>
            <a:off x="7966272" y="2187213"/>
            <a:ext cx="224648" cy="224648"/>
            <a:chOff x="9787094" y="3428364"/>
            <a:chExt cx="436765" cy="436765"/>
          </a:xfrm>
        </p:grpSpPr>
        <p:sp>
          <p:nvSpPr>
            <p:cNvPr id="17" name="Oval 51">
              <a:extLst>
                <a:ext uri="{FF2B5EF4-FFF2-40B4-BE49-F238E27FC236}">
                  <a16:creationId xmlns:a16="http://schemas.microsoft.com/office/drawing/2014/main" id="{0664B9F4-ACD3-9BBF-FFC4-13B994E8F5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8" name="Grafik 252" descr="Daumen-hoch-Zeichen">
              <a:extLst>
                <a:ext uri="{FF2B5EF4-FFF2-40B4-BE49-F238E27FC236}">
                  <a16:creationId xmlns:a16="http://schemas.microsoft.com/office/drawing/2014/main" id="{4832512E-39F4-C9B9-3628-1E9B87DC1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9" name="Gruppieren 253">
            <a:extLst>
              <a:ext uri="{FF2B5EF4-FFF2-40B4-BE49-F238E27FC236}">
                <a16:creationId xmlns:a16="http://schemas.microsoft.com/office/drawing/2014/main" id="{8F2F06F1-045C-280F-657C-216C5C3E8261}"/>
              </a:ext>
            </a:extLst>
          </p:cNvPr>
          <p:cNvGrpSpPr/>
          <p:nvPr/>
        </p:nvGrpSpPr>
        <p:grpSpPr>
          <a:xfrm>
            <a:off x="7966272" y="3847319"/>
            <a:ext cx="224648" cy="224648"/>
            <a:chOff x="9787094" y="3428364"/>
            <a:chExt cx="436765" cy="436765"/>
          </a:xfrm>
        </p:grpSpPr>
        <p:sp>
          <p:nvSpPr>
            <p:cNvPr id="20" name="Oval 51">
              <a:extLst>
                <a:ext uri="{FF2B5EF4-FFF2-40B4-BE49-F238E27FC236}">
                  <a16:creationId xmlns:a16="http://schemas.microsoft.com/office/drawing/2014/main" id="{D4D8299F-078E-4EC5-72DF-1F0B4D029F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21" name="Grafik 252" descr="Daumen-hoch-Zeichen">
              <a:extLst>
                <a:ext uri="{FF2B5EF4-FFF2-40B4-BE49-F238E27FC236}">
                  <a16:creationId xmlns:a16="http://schemas.microsoft.com/office/drawing/2014/main" id="{4EFD8910-0B03-E592-22AB-497C11BE60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4" name="Gruppieren 257">
            <a:extLst>
              <a:ext uri="{FF2B5EF4-FFF2-40B4-BE49-F238E27FC236}">
                <a16:creationId xmlns:a16="http://schemas.microsoft.com/office/drawing/2014/main" id="{F1EFEADF-95F5-AA00-D624-1E0F4EEBB82C}"/>
              </a:ext>
            </a:extLst>
          </p:cNvPr>
          <p:cNvGrpSpPr/>
          <p:nvPr/>
        </p:nvGrpSpPr>
        <p:grpSpPr>
          <a:xfrm>
            <a:off x="7966272" y="4321635"/>
            <a:ext cx="224648" cy="224648"/>
            <a:chOff x="10357465" y="3428364"/>
            <a:chExt cx="436765" cy="436765"/>
          </a:xfrm>
        </p:grpSpPr>
        <p:sp>
          <p:nvSpPr>
            <p:cNvPr id="8" name="Oval 51">
              <a:extLst>
                <a:ext uri="{FF2B5EF4-FFF2-40B4-BE49-F238E27FC236}">
                  <a16:creationId xmlns:a16="http://schemas.microsoft.com/office/drawing/2014/main" id="{B7F01C03-9CF4-DF5A-82C2-7228C37A7E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7465" y="3428364"/>
              <a:ext cx="436765" cy="436765"/>
            </a:xfrm>
            <a:prstGeom prst="ellipse">
              <a:avLst/>
            </a:prstGeom>
            <a:solidFill>
              <a:srgbClr val="F04C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22" name="Grafik 256" descr="Daumen-hoch-Zeichen">
              <a:extLst>
                <a:ext uri="{FF2B5EF4-FFF2-40B4-BE49-F238E27FC236}">
                  <a16:creationId xmlns:a16="http://schemas.microsoft.com/office/drawing/2014/main" id="{127F2DB8-F0B6-1062-AC4D-7570A13C6D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 rot="10800000">
              <a:off x="10408522" y="3474756"/>
              <a:ext cx="341444" cy="341444"/>
            </a:xfrm>
            <a:prstGeom prst="rect">
              <a:avLst/>
            </a:prstGeom>
          </p:spPr>
        </p:pic>
      </p:grpSp>
      <p:grpSp>
        <p:nvGrpSpPr>
          <p:cNvPr id="23" name="Gruppieren 257">
            <a:extLst>
              <a:ext uri="{FF2B5EF4-FFF2-40B4-BE49-F238E27FC236}">
                <a16:creationId xmlns:a16="http://schemas.microsoft.com/office/drawing/2014/main" id="{8C61C33D-EE8C-0147-2413-B9B6057D2AEC}"/>
              </a:ext>
            </a:extLst>
          </p:cNvPr>
          <p:cNvGrpSpPr/>
          <p:nvPr/>
        </p:nvGrpSpPr>
        <p:grpSpPr>
          <a:xfrm>
            <a:off x="7966272" y="5033109"/>
            <a:ext cx="224648" cy="224648"/>
            <a:chOff x="10357465" y="3428364"/>
            <a:chExt cx="436765" cy="436765"/>
          </a:xfrm>
        </p:grpSpPr>
        <p:sp>
          <p:nvSpPr>
            <p:cNvPr id="24" name="Oval 51">
              <a:extLst>
                <a:ext uri="{FF2B5EF4-FFF2-40B4-BE49-F238E27FC236}">
                  <a16:creationId xmlns:a16="http://schemas.microsoft.com/office/drawing/2014/main" id="{D8878CD2-7DC3-1B7B-3DC3-5C2103C4C8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7465" y="3428364"/>
              <a:ext cx="436765" cy="436765"/>
            </a:xfrm>
            <a:prstGeom prst="ellipse">
              <a:avLst/>
            </a:prstGeom>
            <a:solidFill>
              <a:srgbClr val="F04C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25" name="Grafik 256" descr="Daumen-hoch-Zeichen">
              <a:extLst>
                <a:ext uri="{FF2B5EF4-FFF2-40B4-BE49-F238E27FC236}">
                  <a16:creationId xmlns:a16="http://schemas.microsoft.com/office/drawing/2014/main" id="{A844FF9A-3511-7763-69A9-F4448E3710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 rot="10800000">
              <a:off x="10408522" y="3474756"/>
              <a:ext cx="341444" cy="341444"/>
            </a:xfrm>
            <a:prstGeom prst="rect">
              <a:avLst/>
            </a:prstGeom>
          </p:spPr>
        </p:pic>
      </p:grpSp>
      <p:grpSp>
        <p:nvGrpSpPr>
          <p:cNvPr id="26" name="Gruppieren 257">
            <a:extLst>
              <a:ext uri="{FF2B5EF4-FFF2-40B4-BE49-F238E27FC236}">
                <a16:creationId xmlns:a16="http://schemas.microsoft.com/office/drawing/2014/main" id="{C65AC4DE-610A-B397-EC9F-E8AE5DE29B5D}"/>
              </a:ext>
            </a:extLst>
          </p:cNvPr>
          <p:cNvGrpSpPr/>
          <p:nvPr/>
        </p:nvGrpSpPr>
        <p:grpSpPr>
          <a:xfrm>
            <a:off x="7966272" y="3373003"/>
            <a:ext cx="224648" cy="224648"/>
            <a:chOff x="10357465" y="3428364"/>
            <a:chExt cx="436765" cy="436765"/>
          </a:xfrm>
        </p:grpSpPr>
        <p:sp>
          <p:nvSpPr>
            <p:cNvPr id="27" name="Oval 51">
              <a:extLst>
                <a:ext uri="{FF2B5EF4-FFF2-40B4-BE49-F238E27FC236}">
                  <a16:creationId xmlns:a16="http://schemas.microsoft.com/office/drawing/2014/main" id="{4DD8660C-64FD-977A-66F8-BF7E81EC30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7465" y="3428364"/>
              <a:ext cx="436765" cy="436765"/>
            </a:xfrm>
            <a:prstGeom prst="ellipse">
              <a:avLst/>
            </a:prstGeom>
            <a:solidFill>
              <a:srgbClr val="F04C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28" name="Grafik 256" descr="Daumen-hoch-Zeichen">
              <a:extLst>
                <a:ext uri="{FF2B5EF4-FFF2-40B4-BE49-F238E27FC236}">
                  <a16:creationId xmlns:a16="http://schemas.microsoft.com/office/drawing/2014/main" id="{6FCFDD9F-B8F8-82DF-71EC-399ED2C454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 rot="10800000">
              <a:off x="10408522" y="3474756"/>
              <a:ext cx="341444" cy="341444"/>
            </a:xfrm>
            <a:prstGeom prst="rect">
              <a:avLst/>
            </a:prstGeom>
          </p:spPr>
        </p:pic>
      </p:grpSp>
      <p:sp>
        <p:nvSpPr>
          <p:cNvPr id="29" name="Freeform 12">
            <a:extLst>
              <a:ext uri="{FF2B5EF4-FFF2-40B4-BE49-F238E27FC236}">
                <a16:creationId xmlns:a16="http://schemas.microsoft.com/office/drawing/2014/main" id="{4A2C6DE2-8668-CDA7-CAA9-C7CF8798312D}"/>
              </a:ext>
            </a:extLst>
          </p:cNvPr>
          <p:cNvSpPr>
            <a:spLocks noChangeAspect="1"/>
          </p:cNvSpPr>
          <p:nvPr>
            <p:custDataLst>
              <p:tags r:id="rId37"/>
            </p:custDataLst>
          </p:nvPr>
        </p:nvSpPr>
        <p:spPr bwMode="auto">
          <a:xfrm>
            <a:off x="4040277" y="3115976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C40F0057-FAED-8BEA-1256-9402C23BDF59}"/>
              </a:ext>
            </a:extLst>
          </p:cNvPr>
          <p:cNvSpPr/>
          <p:nvPr/>
        </p:nvSpPr>
        <p:spPr>
          <a:xfrm>
            <a:off x="6681216" y="1726959"/>
            <a:ext cx="231648" cy="2310042"/>
          </a:xfrm>
          <a:prstGeom prst="rightBrace">
            <a:avLst>
              <a:gd name="adj1" fmla="val 34455"/>
              <a:gd name="adj2" fmla="val 50000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36929C4F-C4BC-E2F6-1BE3-3EAEA335FDCB}"/>
              </a:ext>
            </a:extLst>
          </p:cNvPr>
          <p:cNvSpPr/>
          <p:nvPr/>
        </p:nvSpPr>
        <p:spPr>
          <a:xfrm>
            <a:off x="6685304" y="4112481"/>
            <a:ext cx="231648" cy="1821784"/>
          </a:xfrm>
          <a:prstGeom prst="rightBrace">
            <a:avLst>
              <a:gd name="adj1" fmla="val 34455"/>
              <a:gd name="adj2" fmla="val 50000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8D767D99-F789-4C3A-DD3F-18EEC8A528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6970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8D767D99-F789-4C3A-DD3F-18EEC8A528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E18DC0-41BE-329C-5072-789A85A71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The EDA offers various insights such as high spikes in sales around holidays</a:t>
            </a:r>
            <a:endParaRPr lang="en-GB" sz="28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4BE380-9311-15A7-FCF7-3BC2A0EBB1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BA6D83A-5BEC-E7D1-CEB0-7B3DE6B4B0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6864" y="3458839"/>
            <a:ext cx="4065279" cy="21205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DBF5836-9621-DBF7-B586-AAA61AFC15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36864" y="1106761"/>
            <a:ext cx="4065279" cy="212051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88B47C1-4199-0FF5-0711-B508DDF6C4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9857" y="3458839"/>
            <a:ext cx="3534193" cy="212051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45480A2-FCEF-7275-F84E-8B64BCEBCD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857" y="1063952"/>
            <a:ext cx="3534193" cy="2120516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F685F03-DA7C-886B-EC91-E5C48943359E}"/>
              </a:ext>
            </a:extLst>
          </p:cNvPr>
          <p:cNvCxnSpPr>
            <a:cxnSpLocks/>
          </p:cNvCxnSpPr>
          <p:nvPr/>
        </p:nvCxnSpPr>
        <p:spPr bwMode="gray">
          <a:xfrm>
            <a:off x="5830457" y="1107758"/>
            <a:ext cx="0" cy="4451985"/>
          </a:xfrm>
          <a:prstGeom prst="line">
            <a:avLst/>
          </a:prstGeom>
          <a:noFill/>
          <a:ln w="9525" cap="rnd" cmpd="sng" algn="ctr">
            <a:solidFill>
              <a:srgbClr val="75737D"/>
            </a:solidFill>
            <a:prstDash val="solid"/>
            <a:round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784B6F1B-0CC9-3687-117E-31CC8CBC2360}"/>
              </a:ext>
            </a:extLst>
          </p:cNvPr>
          <p:cNvSpPr txBox="1"/>
          <p:nvPr/>
        </p:nvSpPr>
        <p:spPr>
          <a:xfrm>
            <a:off x="4187025" y="1610201"/>
            <a:ext cx="1480457" cy="34470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1600"/>
              <a:t>SKUs are similarly distributed across categories </a:t>
            </a:r>
            <a:r>
              <a:rPr lang="en-US" sz="1600">
                <a:sym typeface="Wingdings" pitchFamily="2" charset="2"/>
              </a:rPr>
              <a:t> </a:t>
            </a:r>
            <a:r>
              <a:rPr lang="en-US" sz="1600" b="1">
                <a:sym typeface="Wingdings" pitchFamily="2" charset="2"/>
              </a:rPr>
              <a:t>possibility to create one model per category</a:t>
            </a:r>
          </a:p>
          <a:p>
            <a:pPr algn="l"/>
            <a:endParaRPr lang="en-US" sz="1600">
              <a:sym typeface="Wingdings" pitchFamily="2" charset="2"/>
            </a:endParaRPr>
          </a:p>
          <a:p>
            <a:pPr algn="l"/>
            <a:r>
              <a:rPr lang="en-US" sz="1600">
                <a:sym typeface="Wingdings" pitchFamily="2" charset="2"/>
              </a:rPr>
              <a:t>Sizes of subclasses vary strongly</a:t>
            </a:r>
            <a:endParaRPr lang="en-US" sz="16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93C9E3F-85F1-7B7A-61C4-8E00FB7A59FE}"/>
              </a:ext>
            </a:extLst>
          </p:cNvPr>
          <p:cNvSpPr txBox="1"/>
          <p:nvPr/>
        </p:nvSpPr>
        <p:spPr>
          <a:xfrm>
            <a:off x="5993432" y="1610201"/>
            <a:ext cx="1480457" cy="34470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1600"/>
              <a:t>Avg </a:t>
            </a:r>
            <a:r>
              <a:rPr lang="en-US" sz="1600" b="1"/>
              <a:t>sales prices follow different trends </a:t>
            </a:r>
            <a:r>
              <a:rPr lang="en-US" sz="1600"/>
              <a:t>per MI, going up on average</a:t>
            </a:r>
          </a:p>
          <a:p>
            <a:pPr algn="l"/>
            <a:endParaRPr lang="en-US" sz="1600"/>
          </a:p>
          <a:p>
            <a:pPr algn="l"/>
            <a:r>
              <a:rPr lang="en-US" sz="1600" b="1"/>
              <a:t>Sales see high spikes for holidays </a:t>
            </a:r>
            <a:r>
              <a:rPr lang="en-US" sz="1600"/>
              <a:t>– yet smaller spikes in past yea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DAB637-7EB1-4896-71E4-02C9FB1111F1}"/>
              </a:ext>
            </a:extLst>
          </p:cNvPr>
          <p:cNvSpPr/>
          <p:nvPr/>
        </p:nvSpPr>
        <p:spPr>
          <a:xfrm>
            <a:off x="0" y="5782738"/>
            <a:ext cx="12192000" cy="4011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A dynamic Tableau dashboard has been created for you to explore the data and can easily be refreshed for updated feeds</a:t>
            </a:r>
            <a:endParaRPr lang="en-GB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900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434E7-74BA-087F-1BD5-FE832AA1E5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5882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434E7-74BA-087F-1BD5-FE832AA1E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Rigorous methods were used to create a strong performing mod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C60DD031-6773-6BC6-A2CE-C8D20EF4EB1E}"/>
              </a:ext>
            </a:extLst>
          </p:cNvPr>
          <p:cNvSpPr/>
          <p:nvPr/>
        </p:nvSpPr>
        <p:spPr bwMode="gray">
          <a:xfrm>
            <a:off x="549289" y="1368426"/>
            <a:ext cx="3321984" cy="4459990"/>
          </a:xfrm>
          <a:custGeom>
            <a:avLst/>
            <a:gdLst>
              <a:gd name="connsiteX0" fmla="*/ 2243318 w 2476881"/>
              <a:gd name="connsiteY0" fmla="*/ 3013605 h 3013614"/>
              <a:gd name="connsiteX1" fmla="*/ 233543 w 2476881"/>
              <a:gd name="connsiteY1" fmla="*/ 3013605 h 3013614"/>
              <a:gd name="connsiteX2" fmla="*/ -10 w 2476881"/>
              <a:gd name="connsiteY2" fmla="*/ 2780052 h 3013614"/>
              <a:gd name="connsiteX3" fmla="*/ -10 w 2476881"/>
              <a:gd name="connsiteY3" fmla="*/ 233543 h 3013614"/>
              <a:gd name="connsiteX4" fmla="*/ 233638 w 2476881"/>
              <a:gd name="connsiteY4" fmla="*/ -10 h 3013614"/>
              <a:gd name="connsiteX5" fmla="*/ 2243414 w 2476881"/>
              <a:gd name="connsiteY5" fmla="*/ -10 h 3013614"/>
              <a:gd name="connsiteX6" fmla="*/ 2476871 w 2476881"/>
              <a:gd name="connsiteY6" fmla="*/ 233543 h 3013614"/>
              <a:gd name="connsiteX7" fmla="*/ 2476871 w 2476881"/>
              <a:gd name="connsiteY7" fmla="*/ 2780052 h 3013614"/>
              <a:gd name="connsiteX8" fmla="*/ 2243318 w 2476881"/>
              <a:gd name="connsiteY8" fmla="*/ 3013605 h 3013614"/>
              <a:gd name="connsiteX9" fmla="*/ 233543 w 2476881"/>
              <a:gd name="connsiteY9" fmla="*/ 42757 h 3013614"/>
              <a:gd name="connsiteX10" fmla="*/ 43043 w 2476881"/>
              <a:gd name="connsiteY10" fmla="*/ 233257 h 3013614"/>
              <a:gd name="connsiteX11" fmla="*/ 43043 w 2476881"/>
              <a:gd name="connsiteY11" fmla="*/ 2780052 h 3013614"/>
              <a:gd name="connsiteX12" fmla="*/ 233543 w 2476881"/>
              <a:gd name="connsiteY12" fmla="*/ 2970552 h 3013614"/>
              <a:gd name="connsiteX13" fmla="*/ 2243318 w 2476881"/>
              <a:gd name="connsiteY13" fmla="*/ 2970552 h 3013614"/>
              <a:gd name="connsiteX14" fmla="*/ 2433818 w 2476881"/>
              <a:gd name="connsiteY14" fmla="*/ 2780052 h 3013614"/>
              <a:gd name="connsiteX15" fmla="*/ 2433818 w 2476881"/>
              <a:gd name="connsiteY15" fmla="*/ 233543 h 3013614"/>
              <a:gd name="connsiteX16" fmla="*/ 2243318 w 2476881"/>
              <a:gd name="connsiteY16" fmla="*/ 43043 h 301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76881" h="3013614">
                <a:moveTo>
                  <a:pt x="2243318" y="3013605"/>
                </a:moveTo>
                <a:lnTo>
                  <a:pt x="233543" y="3013605"/>
                </a:lnTo>
                <a:cubicBezTo>
                  <a:pt x="104620" y="3013443"/>
                  <a:pt x="148" y="2908973"/>
                  <a:pt x="-10" y="2780052"/>
                </a:cubicBezTo>
                <a:lnTo>
                  <a:pt x="-10" y="233543"/>
                </a:lnTo>
                <a:cubicBezTo>
                  <a:pt x="148" y="104583"/>
                  <a:pt x="104679" y="95"/>
                  <a:pt x="233638" y="-10"/>
                </a:cubicBezTo>
                <a:lnTo>
                  <a:pt x="2243414" y="-10"/>
                </a:lnTo>
                <a:cubicBezTo>
                  <a:pt x="2372296" y="200"/>
                  <a:pt x="2476709" y="104658"/>
                  <a:pt x="2476871" y="233543"/>
                </a:cubicBezTo>
                <a:lnTo>
                  <a:pt x="2476871" y="2780052"/>
                </a:lnTo>
                <a:cubicBezTo>
                  <a:pt x="2476709" y="2908973"/>
                  <a:pt x="2372239" y="3013443"/>
                  <a:pt x="2243318" y="3013605"/>
                </a:cubicBezTo>
                <a:close/>
                <a:moveTo>
                  <a:pt x="233543" y="42757"/>
                </a:moveTo>
                <a:cubicBezTo>
                  <a:pt x="128441" y="43019"/>
                  <a:pt x="43305" y="128156"/>
                  <a:pt x="43043" y="233257"/>
                </a:cubicBezTo>
                <a:lnTo>
                  <a:pt x="43043" y="2780052"/>
                </a:lnTo>
                <a:cubicBezTo>
                  <a:pt x="43357" y="2885132"/>
                  <a:pt x="128463" y="2970238"/>
                  <a:pt x="233543" y="2970552"/>
                </a:cubicBezTo>
                <a:lnTo>
                  <a:pt x="2243318" y="2970552"/>
                </a:lnTo>
                <a:cubicBezTo>
                  <a:pt x="2348398" y="2970238"/>
                  <a:pt x="2433504" y="2885132"/>
                  <a:pt x="2433818" y="2780052"/>
                </a:cubicBezTo>
                <a:lnTo>
                  <a:pt x="2433818" y="233543"/>
                </a:lnTo>
                <a:cubicBezTo>
                  <a:pt x="2433552" y="128441"/>
                  <a:pt x="2348417" y="43305"/>
                  <a:pt x="2243318" y="43043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22AAE48-0073-AE7A-15F1-128D616F2DBB}"/>
              </a:ext>
            </a:extLst>
          </p:cNvPr>
          <p:cNvGrpSpPr/>
          <p:nvPr/>
        </p:nvGrpSpPr>
        <p:grpSpPr>
          <a:xfrm>
            <a:off x="955913" y="989540"/>
            <a:ext cx="2523425" cy="678090"/>
            <a:chOff x="955900" y="1857375"/>
            <a:chExt cx="2523425" cy="678090"/>
          </a:xfrm>
        </p:grpSpPr>
        <p:sp>
          <p:nvSpPr>
            <p:cNvPr id="10" name="Rounded Rectangle 6">
              <a:extLst>
                <a:ext uri="{FF2B5EF4-FFF2-40B4-BE49-F238E27FC236}">
                  <a16:creationId xmlns:a16="http://schemas.microsoft.com/office/drawing/2014/main" id="{3F015DC4-074F-BEEB-39FA-026C5E13C2D1}"/>
                </a:ext>
              </a:extLst>
            </p:cNvPr>
            <p:cNvSpPr/>
            <p:nvPr/>
          </p:nvSpPr>
          <p:spPr bwMode="gray">
            <a:xfrm>
              <a:off x="1013131" y="1914735"/>
              <a:ext cx="2408834" cy="563500"/>
            </a:xfrm>
            <a:prstGeom prst="roundRect">
              <a:avLst>
                <a:gd name="adj" fmla="val 50000"/>
              </a:avLst>
            </a:prstGeom>
            <a:solidFill>
              <a:srgbClr val="0046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EDB6911C-B5A9-FA6E-4330-A9937FCB7349}"/>
                </a:ext>
              </a:extLst>
            </p:cNvPr>
            <p:cNvSpPr/>
            <p:nvPr/>
          </p:nvSpPr>
          <p:spPr bwMode="gray">
            <a:xfrm>
              <a:off x="955900" y="1857375"/>
              <a:ext cx="2523425" cy="678090"/>
            </a:xfrm>
            <a:custGeom>
              <a:avLst/>
              <a:gdLst>
                <a:gd name="connsiteX0" fmla="*/ 1628670 w 1881473"/>
                <a:gd name="connsiteY0" fmla="*/ 505577 h 505586"/>
                <a:gd name="connsiteX1" fmla="*/ 252784 w 1881473"/>
                <a:gd name="connsiteY1" fmla="*/ 505577 h 505586"/>
                <a:gd name="connsiteX2" fmla="*/ -10 w 1881473"/>
                <a:gd name="connsiteY2" fmla="*/ 252784 h 505586"/>
                <a:gd name="connsiteX3" fmla="*/ 252784 w 1881473"/>
                <a:gd name="connsiteY3" fmla="*/ -10 h 505586"/>
                <a:gd name="connsiteX4" fmla="*/ 1628670 w 1881473"/>
                <a:gd name="connsiteY4" fmla="*/ -10 h 505586"/>
                <a:gd name="connsiteX5" fmla="*/ 1881463 w 1881473"/>
                <a:gd name="connsiteY5" fmla="*/ 252784 h 505586"/>
                <a:gd name="connsiteX6" fmla="*/ 1628670 w 1881473"/>
                <a:gd name="connsiteY6" fmla="*/ 505577 h 505586"/>
                <a:gd name="connsiteX7" fmla="*/ 252784 w 1881473"/>
                <a:gd name="connsiteY7" fmla="*/ 85429 h 505586"/>
                <a:gd name="connsiteX8" fmla="*/ 85429 w 1881473"/>
                <a:gd name="connsiteY8" fmla="*/ 252784 h 505586"/>
                <a:gd name="connsiteX9" fmla="*/ 252784 w 1881473"/>
                <a:gd name="connsiteY9" fmla="*/ 420138 h 505586"/>
                <a:gd name="connsiteX10" fmla="*/ 1628670 w 1881473"/>
                <a:gd name="connsiteY10" fmla="*/ 420138 h 505586"/>
                <a:gd name="connsiteX11" fmla="*/ 1796024 w 1881473"/>
                <a:gd name="connsiteY11" fmla="*/ 252784 h 505586"/>
                <a:gd name="connsiteX12" fmla="*/ 1628670 w 1881473"/>
                <a:gd name="connsiteY12" fmla="*/ 85429 h 50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81473" h="505586">
                  <a:moveTo>
                    <a:pt x="1628670" y="505577"/>
                  </a:moveTo>
                  <a:lnTo>
                    <a:pt x="252784" y="505577"/>
                  </a:lnTo>
                  <a:cubicBezTo>
                    <a:pt x="113170" y="505577"/>
                    <a:pt x="-10" y="392397"/>
                    <a:pt x="-10" y="252784"/>
                  </a:cubicBezTo>
                  <a:cubicBezTo>
                    <a:pt x="-10" y="113170"/>
                    <a:pt x="113170" y="-10"/>
                    <a:pt x="252784" y="-10"/>
                  </a:cubicBezTo>
                  <a:lnTo>
                    <a:pt x="1628670" y="-10"/>
                  </a:lnTo>
                  <a:cubicBezTo>
                    <a:pt x="1768287" y="-10"/>
                    <a:pt x="1881463" y="113170"/>
                    <a:pt x="1881463" y="252784"/>
                  </a:cubicBezTo>
                  <a:cubicBezTo>
                    <a:pt x="1881463" y="392397"/>
                    <a:pt x="1768287" y="505577"/>
                    <a:pt x="1628670" y="505577"/>
                  </a:cubicBezTo>
                  <a:close/>
                  <a:moveTo>
                    <a:pt x="252784" y="85429"/>
                  </a:moveTo>
                  <a:cubicBezTo>
                    <a:pt x="160357" y="85429"/>
                    <a:pt x="85429" y="160357"/>
                    <a:pt x="85429" y="252784"/>
                  </a:cubicBezTo>
                  <a:cubicBezTo>
                    <a:pt x="85429" y="345210"/>
                    <a:pt x="160357" y="420138"/>
                    <a:pt x="252784" y="420138"/>
                  </a:cubicBezTo>
                  <a:lnTo>
                    <a:pt x="1628670" y="420138"/>
                  </a:lnTo>
                  <a:cubicBezTo>
                    <a:pt x="1721101" y="420138"/>
                    <a:pt x="1796024" y="345210"/>
                    <a:pt x="1796024" y="252784"/>
                  </a:cubicBezTo>
                  <a:cubicBezTo>
                    <a:pt x="1796024" y="160357"/>
                    <a:pt x="1721101" y="85429"/>
                    <a:pt x="1628670" y="854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E6354D9C-49A3-65F4-81B6-BC48ECA02E2E}"/>
                </a:ext>
              </a:extLst>
            </p:cNvPr>
            <p:cNvSpPr/>
            <p:nvPr/>
          </p:nvSpPr>
          <p:spPr bwMode="gray">
            <a:xfrm>
              <a:off x="2135024" y="2116579"/>
              <a:ext cx="150615" cy="150742"/>
            </a:xfrm>
            <a:custGeom>
              <a:avLst/>
              <a:gdLst>
                <a:gd name="connsiteX0" fmla="*/ 56092 w 112299"/>
                <a:gd name="connsiteY0" fmla="*/ 112385 h 112394"/>
                <a:gd name="connsiteX1" fmla="*/ 56092 w 112299"/>
                <a:gd name="connsiteY1" fmla="*/ 112385 h 112394"/>
                <a:gd name="connsiteX2" fmla="*/ -10 w 112299"/>
                <a:gd name="connsiteY2" fmla="*/ 56188 h 112394"/>
                <a:gd name="connsiteX3" fmla="*/ -10 w 112299"/>
                <a:gd name="connsiteY3" fmla="*/ 56188 h 112394"/>
                <a:gd name="connsiteX4" fmla="*/ 56092 w 112299"/>
                <a:gd name="connsiteY4" fmla="*/ -10 h 112394"/>
                <a:gd name="connsiteX5" fmla="*/ 56092 w 112299"/>
                <a:gd name="connsiteY5" fmla="*/ -10 h 112394"/>
                <a:gd name="connsiteX6" fmla="*/ 112290 w 112299"/>
                <a:gd name="connsiteY6" fmla="*/ 56188 h 112394"/>
                <a:gd name="connsiteX7" fmla="*/ 112290 w 112299"/>
                <a:gd name="connsiteY7" fmla="*/ 56188 h 112394"/>
                <a:gd name="connsiteX8" fmla="*/ 56092 w 112299"/>
                <a:gd name="connsiteY8" fmla="*/ 112385 h 11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299" h="112394">
                  <a:moveTo>
                    <a:pt x="56092" y="112385"/>
                  </a:moveTo>
                  <a:lnTo>
                    <a:pt x="56092" y="112385"/>
                  </a:lnTo>
                  <a:cubicBezTo>
                    <a:pt x="25136" y="112228"/>
                    <a:pt x="95" y="87144"/>
                    <a:pt x="-10" y="56188"/>
                  </a:cubicBezTo>
                  <a:lnTo>
                    <a:pt x="-10" y="56188"/>
                  </a:lnTo>
                  <a:cubicBezTo>
                    <a:pt x="95" y="25231"/>
                    <a:pt x="25136" y="147"/>
                    <a:pt x="56092" y="-10"/>
                  </a:cubicBezTo>
                  <a:lnTo>
                    <a:pt x="56092" y="-10"/>
                  </a:lnTo>
                  <a:cubicBezTo>
                    <a:pt x="87087" y="95"/>
                    <a:pt x="112185" y="25194"/>
                    <a:pt x="112290" y="56188"/>
                  </a:cubicBezTo>
                  <a:lnTo>
                    <a:pt x="112290" y="56188"/>
                  </a:lnTo>
                  <a:cubicBezTo>
                    <a:pt x="112185" y="87181"/>
                    <a:pt x="87087" y="112280"/>
                    <a:pt x="56092" y="11238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</p:grpSp>
      <p:sp>
        <p:nvSpPr>
          <p:cNvPr id="13" name="Freeform 9">
            <a:extLst>
              <a:ext uri="{FF2B5EF4-FFF2-40B4-BE49-F238E27FC236}">
                <a16:creationId xmlns:a16="http://schemas.microsoft.com/office/drawing/2014/main" id="{55D09FF0-A27C-FC54-0AAB-EBCA712E23D7}"/>
              </a:ext>
            </a:extLst>
          </p:cNvPr>
          <p:cNvSpPr/>
          <p:nvPr/>
        </p:nvSpPr>
        <p:spPr bwMode="gray">
          <a:xfrm>
            <a:off x="4433496" y="1368426"/>
            <a:ext cx="3321984" cy="4459990"/>
          </a:xfrm>
          <a:custGeom>
            <a:avLst/>
            <a:gdLst>
              <a:gd name="connsiteX0" fmla="*/ 2243319 w 2476881"/>
              <a:gd name="connsiteY0" fmla="*/ 3013605 h 3013614"/>
              <a:gd name="connsiteX1" fmla="*/ 233543 w 2476881"/>
              <a:gd name="connsiteY1" fmla="*/ 3013605 h 3013614"/>
              <a:gd name="connsiteX2" fmla="*/ -10 w 2476881"/>
              <a:gd name="connsiteY2" fmla="*/ 2780052 h 3013614"/>
              <a:gd name="connsiteX3" fmla="*/ -10 w 2476881"/>
              <a:gd name="connsiteY3" fmla="*/ 233543 h 3013614"/>
              <a:gd name="connsiteX4" fmla="*/ 233543 w 2476881"/>
              <a:gd name="connsiteY4" fmla="*/ -10 h 3013614"/>
              <a:gd name="connsiteX5" fmla="*/ 2243319 w 2476881"/>
              <a:gd name="connsiteY5" fmla="*/ -10 h 3013614"/>
              <a:gd name="connsiteX6" fmla="*/ 2476872 w 2476881"/>
              <a:gd name="connsiteY6" fmla="*/ 233543 h 3013614"/>
              <a:gd name="connsiteX7" fmla="*/ 2476872 w 2476881"/>
              <a:gd name="connsiteY7" fmla="*/ 2780052 h 3013614"/>
              <a:gd name="connsiteX8" fmla="*/ 2243319 w 2476881"/>
              <a:gd name="connsiteY8" fmla="*/ 3013605 h 3013614"/>
              <a:gd name="connsiteX9" fmla="*/ 233543 w 2476881"/>
              <a:gd name="connsiteY9" fmla="*/ 42757 h 3013614"/>
              <a:gd name="connsiteX10" fmla="*/ 43043 w 2476881"/>
              <a:gd name="connsiteY10" fmla="*/ 233257 h 3013614"/>
              <a:gd name="connsiteX11" fmla="*/ 43043 w 2476881"/>
              <a:gd name="connsiteY11" fmla="*/ 2780052 h 3013614"/>
              <a:gd name="connsiteX12" fmla="*/ 233543 w 2476881"/>
              <a:gd name="connsiteY12" fmla="*/ 2970552 h 3013614"/>
              <a:gd name="connsiteX13" fmla="*/ 2243319 w 2476881"/>
              <a:gd name="connsiteY13" fmla="*/ 2970552 h 3013614"/>
              <a:gd name="connsiteX14" fmla="*/ 2433819 w 2476881"/>
              <a:gd name="connsiteY14" fmla="*/ 2780052 h 3013614"/>
              <a:gd name="connsiteX15" fmla="*/ 2433819 w 2476881"/>
              <a:gd name="connsiteY15" fmla="*/ 233543 h 3013614"/>
              <a:gd name="connsiteX16" fmla="*/ 2243319 w 2476881"/>
              <a:gd name="connsiteY16" fmla="*/ 43043 h 301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76881" h="3013614">
                <a:moveTo>
                  <a:pt x="2243319" y="3013605"/>
                </a:moveTo>
                <a:lnTo>
                  <a:pt x="233543" y="3013605"/>
                </a:lnTo>
                <a:cubicBezTo>
                  <a:pt x="104622" y="3013443"/>
                  <a:pt x="152" y="2908973"/>
                  <a:pt x="-10" y="2780052"/>
                </a:cubicBezTo>
                <a:lnTo>
                  <a:pt x="-10" y="233543"/>
                </a:lnTo>
                <a:cubicBezTo>
                  <a:pt x="152" y="104620"/>
                  <a:pt x="104622" y="147"/>
                  <a:pt x="233543" y="-10"/>
                </a:cubicBezTo>
                <a:lnTo>
                  <a:pt x="2243319" y="-10"/>
                </a:lnTo>
                <a:cubicBezTo>
                  <a:pt x="2372239" y="147"/>
                  <a:pt x="2476709" y="104620"/>
                  <a:pt x="2476872" y="233543"/>
                </a:cubicBezTo>
                <a:lnTo>
                  <a:pt x="2476872" y="2780052"/>
                </a:lnTo>
                <a:cubicBezTo>
                  <a:pt x="2476709" y="2908973"/>
                  <a:pt x="2372239" y="3013443"/>
                  <a:pt x="2243319" y="3013605"/>
                </a:cubicBezTo>
                <a:close/>
                <a:moveTo>
                  <a:pt x="233543" y="42757"/>
                </a:moveTo>
                <a:cubicBezTo>
                  <a:pt x="128445" y="43019"/>
                  <a:pt x="43310" y="128156"/>
                  <a:pt x="43043" y="233257"/>
                </a:cubicBezTo>
                <a:lnTo>
                  <a:pt x="43043" y="2780052"/>
                </a:lnTo>
                <a:cubicBezTo>
                  <a:pt x="43358" y="2885132"/>
                  <a:pt x="128463" y="2970238"/>
                  <a:pt x="233543" y="2970552"/>
                </a:cubicBezTo>
                <a:lnTo>
                  <a:pt x="2243319" y="2970552"/>
                </a:lnTo>
                <a:cubicBezTo>
                  <a:pt x="2348398" y="2970238"/>
                  <a:pt x="2433504" y="2885132"/>
                  <a:pt x="2433819" y="2780052"/>
                </a:cubicBezTo>
                <a:lnTo>
                  <a:pt x="2433819" y="233543"/>
                </a:lnTo>
                <a:cubicBezTo>
                  <a:pt x="2433562" y="128441"/>
                  <a:pt x="2348417" y="43305"/>
                  <a:pt x="2243319" y="43043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45CCCE9-9C60-6764-2BA9-595D92970800}"/>
              </a:ext>
            </a:extLst>
          </p:cNvPr>
          <p:cNvGrpSpPr/>
          <p:nvPr/>
        </p:nvGrpSpPr>
        <p:grpSpPr>
          <a:xfrm>
            <a:off x="4832838" y="989540"/>
            <a:ext cx="2523297" cy="678090"/>
            <a:chOff x="4832825" y="1857375"/>
            <a:chExt cx="2523297" cy="678090"/>
          </a:xfrm>
        </p:grpSpPr>
        <p:sp>
          <p:nvSpPr>
            <p:cNvPr id="15" name="Rounded Rectangle 10">
              <a:extLst>
                <a:ext uri="{FF2B5EF4-FFF2-40B4-BE49-F238E27FC236}">
                  <a16:creationId xmlns:a16="http://schemas.microsoft.com/office/drawing/2014/main" id="{FBB63100-ECA6-2DF0-50B7-BC09CA15EE3A}"/>
                </a:ext>
              </a:extLst>
            </p:cNvPr>
            <p:cNvSpPr/>
            <p:nvPr/>
          </p:nvSpPr>
          <p:spPr bwMode="gray">
            <a:xfrm>
              <a:off x="4890057" y="1914735"/>
              <a:ext cx="2408834" cy="563500"/>
            </a:xfrm>
            <a:prstGeom prst="roundRect">
              <a:avLst>
                <a:gd name="adj" fmla="val 50000"/>
              </a:avLst>
            </a:prstGeom>
            <a:solidFill>
              <a:srgbClr val="0046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E4AF208B-126A-9559-0219-5B86DD915BE6}"/>
                </a:ext>
              </a:extLst>
            </p:cNvPr>
            <p:cNvSpPr/>
            <p:nvPr/>
          </p:nvSpPr>
          <p:spPr bwMode="gray">
            <a:xfrm>
              <a:off x="4832825" y="1857375"/>
              <a:ext cx="2523297" cy="678090"/>
            </a:xfrm>
            <a:custGeom>
              <a:avLst/>
              <a:gdLst>
                <a:gd name="connsiteX0" fmla="*/ 1628575 w 1881378"/>
                <a:gd name="connsiteY0" fmla="*/ 505577 h 505586"/>
                <a:gd name="connsiteX1" fmla="*/ 252784 w 1881378"/>
                <a:gd name="connsiteY1" fmla="*/ 505577 h 505586"/>
                <a:gd name="connsiteX2" fmla="*/ -10 w 1881378"/>
                <a:gd name="connsiteY2" fmla="*/ 252784 h 505586"/>
                <a:gd name="connsiteX3" fmla="*/ 252784 w 1881378"/>
                <a:gd name="connsiteY3" fmla="*/ -10 h 505586"/>
                <a:gd name="connsiteX4" fmla="*/ 1628575 w 1881378"/>
                <a:gd name="connsiteY4" fmla="*/ -10 h 505586"/>
                <a:gd name="connsiteX5" fmla="*/ 1881368 w 1881378"/>
                <a:gd name="connsiteY5" fmla="*/ 252784 h 505586"/>
                <a:gd name="connsiteX6" fmla="*/ 1628575 w 1881378"/>
                <a:gd name="connsiteY6" fmla="*/ 505577 h 505586"/>
                <a:gd name="connsiteX7" fmla="*/ 252784 w 1881378"/>
                <a:gd name="connsiteY7" fmla="*/ 85429 h 505586"/>
                <a:gd name="connsiteX8" fmla="*/ 85429 w 1881378"/>
                <a:gd name="connsiteY8" fmla="*/ 252784 h 505586"/>
                <a:gd name="connsiteX9" fmla="*/ 252784 w 1881378"/>
                <a:gd name="connsiteY9" fmla="*/ 420138 h 505586"/>
                <a:gd name="connsiteX10" fmla="*/ 1628575 w 1881378"/>
                <a:gd name="connsiteY10" fmla="*/ 420138 h 505586"/>
                <a:gd name="connsiteX11" fmla="*/ 1795929 w 1881378"/>
                <a:gd name="connsiteY11" fmla="*/ 252784 h 505586"/>
                <a:gd name="connsiteX12" fmla="*/ 1628575 w 1881378"/>
                <a:gd name="connsiteY12" fmla="*/ 85429 h 50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81378" h="505586">
                  <a:moveTo>
                    <a:pt x="1628575" y="505577"/>
                  </a:moveTo>
                  <a:lnTo>
                    <a:pt x="252784" y="505577"/>
                  </a:lnTo>
                  <a:cubicBezTo>
                    <a:pt x="113166" y="505577"/>
                    <a:pt x="-10" y="392397"/>
                    <a:pt x="-10" y="252784"/>
                  </a:cubicBezTo>
                  <a:cubicBezTo>
                    <a:pt x="-10" y="113170"/>
                    <a:pt x="113166" y="-10"/>
                    <a:pt x="252784" y="-10"/>
                  </a:cubicBezTo>
                  <a:lnTo>
                    <a:pt x="1628575" y="-10"/>
                  </a:lnTo>
                  <a:cubicBezTo>
                    <a:pt x="1768192" y="-10"/>
                    <a:pt x="1881368" y="113170"/>
                    <a:pt x="1881368" y="252784"/>
                  </a:cubicBezTo>
                  <a:cubicBezTo>
                    <a:pt x="1881368" y="392397"/>
                    <a:pt x="1768192" y="505577"/>
                    <a:pt x="1628575" y="505577"/>
                  </a:cubicBezTo>
                  <a:close/>
                  <a:moveTo>
                    <a:pt x="252784" y="85429"/>
                  </a:moveTo>
                  <a:cubicBezTo>
                    <a:pt x="160353" y="85429"/>
                    <a:pt x="85429" y="160357"/>
                    <a:pt x="85429" y="252784"/>
                  </a:cubicBezTo>
                  <a:cubicBezTo>
                    <a:pt x="85429" y="345210"/>
                    <a:pt x="160353" y="420138"/>
                    <a:pt x="252784" y="420138"/>
                  </a:cubicBezTo>
                  <a:lnTo>
                    <a:pt x="1628575" y="420138"/>
                  </a:lnTo>
                  <a:cubicBezTo>
                    <a:pt x="1721006" y="420138"/>
                    <a:pt x="1795929" y="345210"/>
                    <a:pt x="1795929" y="252784"/>
                  </a:cubicBezTo>
                  <a:cubicBezTo>
                    <a:pt x="1795929" y="160357"/>
                    <a:pt x="1721006" y="85429"/>
                    <a:pt x="1628575" y="854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F1058FFC-FA96-EB78-6C8B-94B4F11565C8}"/>
                </a:ext>
              </a:extLst>
            </p:cNvPr>
            <p:cNvSpPr/>
            <p:nvPr/>
          </p:nvSpPr>
          <p:spPr bwMode="gray">
            <a:xfrm>
              <a:off x="5905662" y="2116579"/>
              <a:ext cx="150742" cy="150742"/>
            </a:xfrm>
            <a:custGeom>
              <a:avLst/>
              <a:gdLst>
                <a:gd name="connsiteX0" fmla="*/ 56188 w 112394"/>
                <a:gd name="connsiteY0" fmla="*/ 112385 h 112394"/>
                <a:gd name="connsiteX1" fmla="*/ 56188 w 112394"/>
                <a:gd name="connsiteY1" fmla="*/ 112385 h 112394"/>
                <a:gd name="connsiteX2" fmla="*/ -10 w 112394"/>
                <a:gd name="connsiteY2" fmla="*/ 56188 h 112394"/>
                <a:gd name="connsiteX3" fmla="*/ -10 w 112394"/>
                <a:gd name="connsiteY3" fmla="*/ 56188 h 112394"/>
                <a:gd name="connsiteX4" fmla="*/ 56188 w 112394"/>
                <a:gd name="connsiteY4" fmla="*/ -10 h 112394"/>
                <a:gd name="connsiteX5" fmla="*/ 56188 w 112394"/>
                <a:gd name="connsiteY5" fmla="*/ -10 h 112394"/>
                <a:gd name="connsiteX6" fmla="*/ 112385 w 112394"/>
                <a:gd name="connsiteY6" fmla="*/ 56188 h 112394"/>
                <a:gd name="connsiteX7" fmla="*/ 112385 w 112394"/>
                <a:gd name="connsiteY7" fmla="*/ 56188 h 112394"/>
                <a:gd name="connsiteX8" fmla="*/ 56188 w 112394"/>
                <a:gd name="connsiteY8" fmla="*/ 112385 h 11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394" h="112394">
                  <a:moveTo>
                    <a:pt x="56188" y="112385"/>
                  </a:moveTo>
                  <a:lnTo>
                    <a:pt x="56188" y="112385"/>
                  </a:lnTo>
                  <a:cubicBezTo>
                    <a:pt x="25193" y="112280"/>
                    <a:pt x="95" y="87181"/>
                    <a:pt x="-10" y="56188"/>
                  </a:cubicBezTo>
                  <a:lnTo>
                    <a:pt x="-10" y="56188"/>
                  </a:lnTo>
                  <a:cubicBezTo>
                    <a:pt x="95" y="25194"/>
                    <a:pt x="25193" y="95"/>
                    <a:pt x="56188" y="-10"/>
                  </a:cubicBezTo>
                  <a:lnTo>
                    <a:pt x="56188" y="-10"/>
                  </a:lnTo>
                  <a:cubicBezTo>
                    <a:pt x="87182" y="95"/>
                    <a:pt x="112280" y="25194"/>
                    <a:pt x="112385" y="56188"/>
                  </a:cubicBezTo>
                  <a:lnTo>
                    <a:pt x="112385" y="56188"/>
                  </a:lnTo>
                  <a:cubicBezTo>
                    <a:pt x="112280" y="87181"/>
                    <a:pt x="87182" y="112280"/>
                    <a:pt x="56188" y="11238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5E07F676-F9B3-FE5E-4101-AC0045F97361}"/>
                </a:ext>
              </a:extLst>
            </p:cNvPr>
            <p:cNvSpPr/>
            <p:nvPr/>
          </p:nvSpPr>
          <p:spPr bwMode="gray">
            <a:xfrm>
              <a:off x="6171252" y="2116579"/>
              <a:ext cx="150615" cy="150742"/>
            </a:xfrm>
            <a:custGeom>
              <a:avLst/>
              <a:gdLst>
                <a:gd name="connsiteX0" fmla="*/ 56188 w 112299"/>
                <a:gd name="connsiteY0" fmla="*/ 112385 h 112394"/>
                <a:gd name="connsiteX1" fmla="*/ 56188 w 112299"/>
                <a:gd name="connsiteY1" fmla="*/ 112385 h 112394"/>
                <a:gd name="connsiteX2" fmla="*/ -10 w 112299"/>
                <a:gd name="connsiteY2" fmla="*/ 56188 h 112394"/>
                <a:gd name="connsiteX3" fmla="*/ -10 w 112299"/>
                <a:gd name="connsiteY3" fmla="*/ 56188 h 112394"/>
                <a:gd name="connsiteX4" fmla="*/ 56188 w 112299"/>
                <a:gd name="connsiteY4" fmla="*/ -10 h 112394"/>
                <a:gd name="connsiteX5" fmla="*/ 56188 w 112299"/>
                <a:gd name="connsiteY5" fmla="*/ -10 h 112394"/>
                <a:gd name="connsiteX6" fmla="*/ 112290 w 112299"/>
                <a:gd name="connsiteY6" fmla="*/ 56188 h 112394"/>
                <a:gd name="connsiteX7" fmla="*/ 112290 w 112299"/>
                <a:gd name="connsiteY7" fmla="*/ 56188 h 112394"/>
                <a:gd name="connsiteX8" fmla="*/ 56188 w 112299"/>
                <a:gd name="connsiteY8" fmla="*/ 112385 h 11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299" h="112394">
                  <a:moveTo>
                    <a:pt x="56188" y="112385"/>
                  </a:moveTo>
                  <a:lnTo>
                    <a:pt x="56188" y="112385"/>
                  </a:lnTo>
                  <a:cubicBezTo>
                    <a:pt x="25193" y="112280"/>
                    <a:pt x="95" y="87181"/>
                    <a:pt x="-10" y="56188"/>
                  </a:cubicBezTo>
                  <a:lnTo>
                    <a:pt x="-10" y="56188"/>
                  </a:lnTo>
                  <a:cubicBezTo>
                    <a:pt x="95" y="25194"/>
                    <a:pt x="25193" y="95"/>
                    <a:pt x="56188" y="-10"/>
                  </a:cubicBezTo>
                  <a:lnTo>
                    <a:pt x="56188" y="-10"/>
                  </a:lnTo>
                  <a:cubicBezTo>
                    <a:pt x="87144" y="147"/>
                    <a:pt x="112185" y="25231"/>
                    <a:pt x="112290" y="56188"/>
                  </a:cubicBezTo>
                  <a:lnTo>
                    <a:pt x="112290" y="56188"/>
                  </a:lnTo>
                  <a:cubicBezTo>
                    <a:pt x="112185" y="87144"/>
                    <a:pt x="87144" y="112228"/>
                    <a:pt x="56188" y="11238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</p:grpSp>
      <p:sp>
        <p:nvSpPr>
          <p:cNvPr id="19" name="Freeform 14">
            <a:extLst>
              <a:ext uri="{FF2B5EF4-FFF2-40B4-BE49-F238E27FC236}">
                <a16:creationId xmlns:a16="http://schemas.microsoft.com/office/drawing/2014/main" id="{E7E6199B-3483-3982-E472-7EADA796288F}"/>
              </a:ext>
            </a:extLst>
          </p:cNvPr>
          <p:cNvSpPr/>
          <p:nvPr/>
        </p:nvSpPr>
        <p:spPr bwMode="gray">
          <a:xfrm>
            <a:off x="8317575" y="1368425"/>
            <a:ext cx="3322750" cy="4459991"/>
          </a:xfrm>
          <a:custGeom>
            <a:avLst/>
            <a:gdLst>
              <a:gd name="connsiteX0" fmla="*/ 2243318 w 2477452"/>
              <a:gd name="connsiteY0" fmla="*/ 3013605 h 3013615"/>
              <a:gd name="connsiteX1" fmla="*/ 233543 w 2477452"/>
              <a:gd name="connsiteY1" fmla="*/ 3013605 h 3013615"/>
              <a:gd name="connsiteX2" fmla="*/ -10 w 2477452"/>
              <a:gd name="connsiteY2" fmla="*/ 2780052 h 3013615"/>
              <a:gd name="connsiteX3" fmla="*/ -10 w 2477452"/>
              <a:gd name="connsiteY3" fmla="*/ 233543 h 3013615"/>
              <a:gd name="connsiteX4" fmla="*/ 233543 w 2477452"/>
              <a:gd name="connsiteY4" fmla="*/ -10 h 3013615"/>
              <a:gd name="connsiteX5" fmla="*/ 2243318 w 2477452"/>
              <a:gd name="connsiteY5" fmla="*/ -10 h 3013615"/>
              <a:gd name="connsiteX6" fmla="*/ 2477443 w 2477452"/>
              <a:gd name="connsiteY6" fmla="*/ 233543 h 3013615"/>
              <a:gd name="connsiteX7" fmla="*/ 2477443 w 2477452"/>
              <a:gd name="connsiteY7" fmla="*/ 2780052 h 3013615"/>
              <a:gd name="connsiteX8" fmla="*/ 2243318 w 2477452"/>
              <a:gd name="connsiteY8" fmla="*/ 3013605 h 3013615"/>
              <a:gd name="connsiteX9" fmla="*/ 233543 w 2477452"/>
              <a:gd name="connsiteY9" fmla="*/ 42758 h 3013615"/>
              <a:gd name="connsiteX10" fmla="*/ 43043 w 2477452"/>
              <a:gd name="connsiteY10" fmla="*/ 233258 h 3013615"/>
              <a:gd name="connsiteX11" fmla="*/ 43043 w 2477452"/>
              <a:gd name="connsiteY11" fmla="*/ 2780052 h 3013615"/>
              <a:gd name="connsiteX12" fmla="*/ 233543 w 2477452"/>
              <a:gd name="connsiteY12" fmla="*/ 2970552 h 3013615"/>
              <a:gd name="connsiteX13" fmla="*/ 2243318 w 2477452"/>
              <a:gd name="connsiteY13" fmla="*/ 2970552 h 3013615"/>
              <a:gd name="connsiteX14" fmla="*/ 2433818 w 2477452"/>
              <a:gd name="connsiteY14" fmla="*/ 2780052 h 3013615"/>
              <a:gd name="connsiteX15" fmla="*/ 2433818 w 2477452"/>
              <a:gd name="connsiteY15" fmla="*/ 233543 h 3013615"/>
              <a:gd name="connsiteX16" fmla="*/ 2243318 w 2477452"/>
              <a:gd name="connsiteY16" fmla="*/ 43043 h 3013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77452" h="3013615">
                <a:moveTo>
                  <a:pt x="2243318" y="3013605"/>
                </a:moveTo>
                <a:lnTo>
                  <a:pt x="233543" y="3013605"/>
                </a:lnTo>
                <a:cubicBezTo>
                  <a:pt x="104622" y="3013443"/>
                  <a:pt x="152" y="2908973"/>
                  <a:pt x="-10" y="2780052"/>
                </a:cubicBezTo>
                <a:lnTo>
                  <a:pt x="-10" y="233543"/>
                </a:lnTo>
                <a:cubicBezTo>
                  <a:pt x="152" y="104621"/>
                  <a:pt x="104622" y="148"/>
                  <a:pt x="233543" y="-10"/>
                </a:cubicBezTo>
                <a:lnTo>
                  <a:pt x="2243318" y="-10"/>
                </a:lnTo>
                <a:cubicBezTo>
                  <a:pt x="2372468" y="-168"/>
                  <a:pt x="2477280" y="104398"/>
                  <a:pt x="2477443" y="233543"/>
                </a:cubicBezTo>
                <a:lnTo>
                  <a:pt x="2477443" y="2780052"/>
                </a:lnTo>
                <a:cubicBezTo>
                  <a:pt x="2477280" y="2909202"/>
                  <a:pt x="2372468" y="3013767"/>
                  <a:pt x="2243318" y="3013605"/>
                </a:cubicBezTo>
                <a:close/>
                <a:moveTo>
                  <a:pt x="233543" y="42758"/>
                </a:moveTo>
                <a:cubicBezTo>
                  <a:pt x="128444" y="43020"/>
                  <a:pt x="43300" y="128156"/>
                  <a:pt x="43043" y="233258"/>
                </a:cubicBezTo>
                <a:lnTo>
                  <a:pt x="43043" y="2780052"/>
                </a:lnTo>
                <a:cubicBezTo>
                  <a:pt x="43357" y="2885132"/>
                  <a:pt x="128463" y="2970238"/>
                  <a:pt x="233543" y="2970552"/>
                </a:cubicBezTo>
                <a:lnTo>
                  <a:pt x="2243318" y="2970552"/>
                </a:lnTo>
                <a:cubicBezTo>
                  <a:pt x="2348398" y="2970238"/>
                  <a:pt x="2433504" y="2885132"/>
                  <a:pt x="2433818" y="2780052"/>
                </a:cubicBezTo>
                <a:lnTo>
                  <a:pt x="2433818" y="233543"/>
                </a:lnTo>
                <a:cubicBezTo>
                  <a:pt x="2433561" y="128442"/>
                  <a:pt x="2348417" y="43305"/>
                  <a:pt x="2243318" y="43043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70925E1-FD50-BF93-0003-90A699558176}"/>
              </a:ext>
            </a:extLst>
          </p:cNvPr>
          <p:cNvGrpSpPr/>
          <p:nvPr/>
        </p:nvGrpSpPr>
        <p:grpSpPr>
          <a:xfrm>
            <a:off x="8716918" y="989540"/>
            <a:ext cx="2523425" cy="678090"/>
            <a:chOff x="8716905" y="1857375"/>
            <a:chExt cx="2523425" cy="678090"/>
          </a:xfrm>
        </p:grpSpPr>
        <p:sp>
          <p:nvSpPr>
            <p:cNvPr id="21" name="Rounded Rectangle 15">
              <a:extLst>
                <a:ext uri="{FF2B5EF4-FFF2-40B4-BE49-F238E27FC236}">
                  <a16:creationId xmlns:a16="http://schemas.microsoft.com/office/drawing/2014/main" id="{309BD05D-7168-183A-70D6-1BE2787D083D}"/>
                </a:ext>
              </a:extLst>
            </p:cNvPr>
            <p:cNvSpPr/>
            <p:nvPr/>
          </p:nvSpPr>
          <p:spPr bwMode="gray">
            <a:xfrm>
              <a:off x="8774136" y="1914735"/>
              <a:ext cx="2408834" cy="563500"/>
            </a:xfrm>
            <a:prstGeom prst="roundRect">
              <a:avLst>
                <a:gd name="adj" fmla="val 50000"/>
              </a:avLst>
            </a:prstGeom>
            <a:solidFill>
              <a:srgbClr val="0046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8E43A823-141B-F03F-0CA7-3192A1190A0E}"/>
                </a:ext>
              </a:extLst>
            </p:cNvPr>
            <p:cNvSpPr/>
            <p:nvPr/>
          </p:nvSpPr>
          <p:spPr bwMode="gray">
            <a:xfrm>
              <a:off x="8716905" y="1857375"/>
              <a:ext cx="2523425" cy="678090"/>
            </a:xfrm>
            <a:custGeom>
              <a:avLst/>
              <a:gdLst>
                <a:gd name="connsiteX0" fmla="*/ 1628670 w 1881473"/>
                <a:gd name="connsiteY0" fmla="*/ 505577 h 505586"/>
                <a:gd name="connsiteX1" fmla="*/ 252784 w 1881473"/>
                <a:gd name="connsiteY1" fmla="*/ 505577 h 505586"/>
                <a:gd name="connsiteX2" fmla="*/ -10 w 1881473"/>
                <a:gd name="connsiteY2" fmla="*/ 252784 h 505586"/>
                <a:gd name="connsiteX3" fmla="*/ 252784 w 1881473"/>
                <a:gd name="connsiteY3" fmla="*/ -10 h 505586"/>
                <a:gd name="connsiteX4" fmla="*/ 1628670 w 1881473"/>
                <a:gd name="connsiteY4" fmla="*/ -10 h 505586"/>
                <a:gd name="connsiteX5" fmla="*/ 1881464 w 1881473"/>
                <a:gd name="connsiteY5" fmla="*/ 252784 h 505586"/>
                <a:gd name="connsiteX6" fmla="*/ 1628670 w 1881473"/>
                <a:gd name="connsiteY6" fmla="*/ 505577 h 505586"/>
                <a:gd name="connsiteX7" fmla="*/ 252784 w 1881473"/>
                <a:gd name="connsiteY7" fmla="*/ 85429 h 505586"/>
                <a:gd name="connsiteX8" fmla="*/ 85430 w 1881473"/>
                <a:gd name="connsiteY8" fmla="*/ 252784 h 505586"/>
                <a:gd name="connsiteX9" fmla="*/ 252784 w 1881473"/>
                <a:gd name="connsiteY9" fmla="*/ 420138 h 505586"/>
                <a:gd name="connsiteX10" fmla="*/ 1628670 w 1881473"/>
                <a:gd name="connsiteY10" fmla="*/ 420138 h 505586"/>
                <a:gd name="connsiteX11" fmla="*/ 1796024 w 1881473"/>
                <a:gd name="connsiteY11" fmla="*/ 252784 h 505586"/>
                <a:gd name="connsiteX12" fmla="*/ 1628670 w 1881473"/>
                <a:gd name="connsiteY12" fmla="*/ 85429 h 50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81473" h="505586">
                  <a:moveTo>
                    <a:pt x="1628670" y="505577"/>
                  </a:moveTo>
                  <a:lnTo>
                    <a:pt x="252784" y="505577"/>
                  </a:lnTo>
                  <a:cubicBezTo>
                    <a:pt x="113166" y="505577"/>
                    <a:pt x="-10" y="392397"/>
                    <a:pt x="-10" y="252784"/>
                  </a:cubicBezTo>
                  <a:cubicBezTo>
                    <a:pt x="-10" y="113170"/>
                    <a:pt x="113166" y="-10"/>
                    <a:pt x="252784" y="-10"/>
                  </a:cubicBezTo>
                  <a:lnTo>
                    <a:pt x="1628670" y="-10"/>
                  </a:lnTo>
                  <a:cubicBezTo>
                    <a:pt x="1768288" y="-10"/>
                    <a:pt x="1881464" y="113170"/>
                    <a:pt x="1881464" y="252784"/>
                  </a:cubicBezTo>
                  <a:cubicBezTo>
                    <a:pt x="1881464" y="392397"/>
                    <a:pt x="1768288" y="505577"/>
                    <a:pt x="1628670" y="505577"/>
                  </a:cubicBezTo>
                  <a:close/>
                  <a:moveTo>
                    <a:pt x="252784" y="85429"/>
                  </a:moveTo>
                  <a:cubicBezTo>
                    <a:pt x="160353" y="85429"/>
                    <a:pt x="85430" y="160357"/>
                    <a:pt x="85430" y="252784"/>
                  </a:cubicBezTo>
                  <a:cubicBezTo>
                    <a:pt x="85430" y="345210"/>
                    <a:pt x="160353" y="420138"/>
                    <a:pt x="252784" y="420138"/>
                  </a:cubicBezTo>
                  <a:lnTo>
                    <a:pt x="1628670" y="420138"/>
                  </a:lnTo>
                  <a:cubicBezTo>
                    <a:pt x="1721101" y="420138"/>
                    <a:pt x="1796024" y="345210"/>
                    <a:pt x="1796024" y="252784"/>
                  </a:cubicBezTo>
                  <a:cubicBezTo>
                    <a:pt x="1796024" y="160357"/>
                    <a:pt x="1721101" y="85429"/>
                    <a:pt x="1628670" y="854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221280BA-60BC-3CA6-53F6-C4A10476B4B7}"/>
                </a:ext>
              </a:extLst>
            </p:cNvPr>
            <p:cNvSpPr/>
            <p:nvPr/>
          </p:nvSpPr>
          <p:spPr bwMode="gray">
            <a:xfrm>
              <a:off x="9637975" y="2121049"/>
              <a:ext cx="150742" cy="150615"/>
            </a:xfrm>
            <a:custGeom>
              <a:avLst/>
              <a:gdLst>
                <a:gd name="connsiteX0" fmla="*/ 56187 w 112394"/>
                <a:gd name="connsiteY0" fmla="*/ 112290 h 112299"/>
                <a:gd name="connsiteX1" fmla="*/ 56187 w 112394"/>
                <a:gd name="connsiteY1" fmla="*/ 112290 h 112299"/>
                <a:gd name="connsiteX2" fmla="*/ -10 w 112394"/>
                <a:gd name="connsiteY2" fmla="*/ 56188 h 112299"/>
                <a:gd name="connsiteX3" fmla="*/ -10 w 112394"/>
                <a:gd name="connsiteY3" fmla="*/ 56188 h 112299"/>
                <a:gd name="connsiteX4" fmla="*/ 56187 w 112394"/>
                <a:gd name="connsiteY4" fmla="*/ -10 h 112299"/>
                <a:gd name="connsiteX5" fmla="*/ 56187 w 112394"/>
                <a:gd name="connsiteY5" fmla="*/ -10 h 112299"/>
                <a:gd name="connsiteX6" fmla="*/ 112385 w 112394"/>
                <a:gd name="connsiteY6" fmla="*/ 56188 h 112299"/>
                <a:gd name="connsiteX7" fmla="*/ 112385 w 112394"/>
                <a:gd name="connsiteY7" fmla="*/ 56188 h 112299"/>
                <a:gd name="connsiteX8" fmla="*/ 56187 w 112394"/>
                <a:gd name="connsiteY8" fmla="*/ 112290 h 11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394" h="112299">
                  <a:moveTo>
                    <a:pt x="56187" y="112290"/>
                  </a:moveTo>
                  <a:lnTo>
                    <a:pt x="56187" y="112290"/>
                  </a:lnTo>
                  <a:cubicBezTo>
                    <a:pt x="25231" y="112186"/>
                    <a:pt x="143" y="87144"/>
                    <a:pt x="-10" y="56188"/>
                  </a:cubicBezTo>
                  <a:lnTo>
                    <a:pt x="-10" y="56188"/>
                  </a:lnTo>
                  <a:cubicBezTo>
                    <a:pt x="95" y="25194"/>
                    <a:pt x="25193" y="95"/>
                    <a:pt x="56187" y="-10"/>
                  </a:cubicBezTo>
                  <a:lnTo>
                    <a:pt x="56187" y="-10"/>
                  </a:lnTo>
                  <a:cubicBezTo>
                    <a:pt x="87201" y="43"/>
                    <a:pt x="112328" y="25172"/>
                    <a:pt x="112385" y="56188"/>
                  </a:cubicBezTo>
                  <a:lnTo>
                    <a:pt x="112385" y="56188"/>
                  </a:lnTo>
                  <a:cubicBezTo>
                    <a:pt x="112280" y="87166"/>
                    <a:pt x="87163" y="112238"/>
                    <a:pt x="56187" y="11229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12D27D42-340A-0BE0-5A72-9E8E95398E6E}"/>
                </a:ext>
              </a:extLst>
            </p:cNvPr>
            <p:cNvSpPr/>
            <p:nvPr/>
          </p:nvSpPr>
          <p:spPr bwMode="gray">
            <a:xfrm>
              <a:off x="9903310" y="2121049"/>
              <a:ext cx="150615" cy="150615"/>
            </a:xfrm>
            <a:custGeom>
              <a:avLst/>
              <a:gdLst>
                <a:gd name="connsiteX0" fmla="*/ 56187 w 112299"/>
                <a:gd name="connsiteY0" fmla="*/ 112290 h 112299"/>
                <a:gd name="connsiteX1" fmla="*/ 56187 w 112299"/>
                <a:gd name="connsiteY1" fmla="*/ 112290 h 112299"/>
                <a:gd name="connsiteX2" fmla="*/ -10 w 112299"/>
                <a:gd name="connsiteY2" fmla="*/ 56188 h 112299"/>
                <a:gd name="connsiteX3" fmla="*/ -10 w 112299"/>
                <a:gd name="connsiteY3" fmla="*/ 56188 h 112299"/>
                <a:gd name="connsiteX4" fmla="*/ 56187 w 112299"/>
                <a:gd name="connsiteY4" fmla="*/ -10 h 112299"/>
                <a:gd name="connsiteX5" fmla="*/ 56187 w 112299"/>
                <a:gd name="connsiteY5" fmla="*/ -10 h 112299"/>
                <a:gd name="connsiteX6" fmla="*/ 112290 w 112299"/>
                <a:gd name="connsiteY6" fmla="*/ 56188 h 112299"/>
                <a:gd name="connsiteX7" fmla="*/ 112290 w 112299"/>
                <a:gd name="connsiteY7" fmla="*/ 56188 h 112299"/>
                <a:gd name="connsiteX8" fmla="*/ 56187 w 112299"/>
                <a:gd name="connsiteY8" fmla="*/ 112290 h 11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299" h="112299">
                  <a:moveTo>
                    <a:pt x="56187" y="112290"/>
                  </a:moveTo>
                  <a:lnTo>
                    <a:pt x="56187" y="112290"/>
                  </a:lnTo>
                  <a:cubicBezTo>
                    <a:pt x="25212" y="112238"/>
                    <a:pt x="95" y="87166"/>
                    <a:pt x="-10" y="56188"/>
                  </a:cubicBezTo>
                  <a:lnTo>
                    <a:pt x="-10" y="56188"/>
                  </a:lnTo>
                  <a:cubicBezTo>
                    <a:pt x="47" y="25172"/>
                    <a:pt x="25174" y="43"/>
                    <a:pt x="56187" y="-10"/>
                  </a:cubicBezTo>
                  <a:lnTo>
                    <a:pt x="56187" y="-10"/>
                  </a:lnTo>
                  <a:cubicBezTo>
                    <a:pt x="87163" y="95"/>
                    <a:pt x="112242" y="25210"/>
                    <a:pt x="112290" y="56188"/>
                  </a:cubicBezTo>
                  <a:lnTo>
                    <a:pt x="112290" y="56188"/>
                  </a:lnTo>
                  <a:cubicBezTo>
                    <a:pt x="112185" y="87129"/>
                    <a:pt x="87124" y="112185"/>
                    <a:pt x="56187" y="11229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BA333701-87AE-E2F6-00D7-63878D8A0C7B}"/>
                </a:ext>
              </a:extLst>
            </p:cNvPr>
            <p:cNvSpPr/>
            <p:nvPr/>
          </p:nvSpPr>
          <p:spPr bwMode="gray">
            <a:xfrm>
              <a:off x="10168517" y="2121049"/>
              <a:ext cx="150744" cy="150615"/>
            </a:xfrm>
            <a:custGeom>
              <a:avLst/>
              <a:gdLst>
                <a:gd name="connsiteX0" fmla="*/ 56188 w 112395"/>
                <a:gd name="connsiteY0" fmla="*/ 112290 h 112299"/>
                <a:gd name="connsiteX1" fmla="*/ 56188 w 112395"/>
                <a:gd name="connsiteY1" fmla="*/ 112290 h 112299"/>
                <a:gd name="connsiteX2" fmla="*/ -10 w 112395"/>
                <a:gd name="connsiteY2" fmla="*/ 56188 h 112299"/>
                <a:gd name="connsiteX3" fmla="*/ -10 w 112395"/>
                <a:gd name="connsiteY3" fmla="*/ 56188 h 112299"/>
                <a:gd name="connsiteX4" fmla="*/ 56188 w 112395"/>
                <a:gd name="connsiteY4" fmla="*/ -10 h 112299"/>
                <a:gd name="connsiteX5" fmla="*/ 56188 w 112395"/>
                <a:gd name="connsiteY5" fmla="*/ -10 h 112299"/>
                <a:gd name="connsiteX6" fmla="*/ 112386 w 112395"/>
                <a:gd name="connsiteY6" fmla="*/ 56188 h 112299"/>
                <a:gd name="connsiteX7" fmla="*/ 112386 w 112395"/>
                <a:gd name="connsiteY7" fmla="*/ 56188 h 112299"/>
                <a:gd name="connsiteX8" fmla="*/ 56188 w 112395"/>
                <a:gd name="connsiteY8" fmla="*/ 112290 h 11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395" h="112299">
                  <a:moveTo>
                    <a:pt x="56188" y="112290"/>
                  </a:moveTo>
                  <a:lnTo>
                    <a:pt x="56188" y="112290"/>
                  </a:lnTo>
                  <a:cubicBezTo>
                    <a:pt x="25232" y="112186"/>
                    <a:pt x="143" y="87144"/>
                    <a:pt x="-10" y="56188"/>
                  </a:cubicBezTo>
                  <a:lnTo>
                    <a:pt x="-10" y="56188"/>
                  </a:lnTo>
                  <a:cubicBezTo>
                    <a:pt x="95" y="25194"/>
                    <a:pt x="25193" y="95"/>
                    <a:pt x="56188" y="-10"/>
                  </a:cubicBezTo>
                  <a:lnTo>
                    <a:pt x="56188" y="-10"/>
                  </a:lnTo>
                  <a:cubicBezTo>
                    <a:pt x="87182" y="95"/>
                    <a:pt x="112280" y="25194"/>
                    <a:pt x="112386" y="56188"/>
                  </a:cubicBezTo>
                  <a:lnTo>
                    <a:pt x="112386" y="56188"/>
                  </a:lnTo>
                  <a:cubicBezTo>
                    <a:pt x="112233" y="87144"/>
                    <a:pt x="87144" y="112186"/>
                    <a:pt x="56188" y="11229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820C0556-9E82-2D21-4543-C425F1EF3826}"/>
              </a:ext>
            </a:extLst>
          </p:cNvPr>
          <p:cNvSpPr/>
          <p:nvPr/>
        </p:nvSpPr>
        <p:spPr bwMode="auto">
          <a:xfrm>
            <a:off x="8443583" y="2422583"/>
            <a:ext cx="3118552" cy="3036729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>
                <a:solidFill>
                  <a:schemeClr val="tx2"/>
                </a:solidFill>
                <a:latin typeface="Arial" panose="020B0604020202020204" pitchFamily="34" charset="0"/>
              </a:rPr>
              <a:t>Modelling process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>
                <a:latin typeface="Arial" panose="020B0604020202020204" pitchFamily="34" charset="0"/>
              </a:rPr>
              <a:t>Various models were evaluated:</a:t>
            </a:r>
          </a:p>
          <a:p>
            <a:pPr marL="400050" lvl="2" indent="-161925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 b="1" err="1">
                <a:latin typeface="Arial" panose="020B0604020202020204" pitchFamily="34" charset="0"/>
              </a:rPr>
              <a:t>Croston’s</a:t>
            </a:r>
            <a:r>
              <a:rPr lang="en-US" sz="1600">
                <a:latin typeface="Arial" panose="020B0604020202020204" pitchFamily="34" charset="0"/>
              </a:rPr>
              <a:t> time series</a:t>
            </a:r>
          </a:p>
          <a:p>
            <a:pPr marL="400050" lvl="2" indent="-161925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1600">
                <a:latin typeface="Arial" panose="020B0604020202020204" pitchFamily="34" charset="0"/>
              </a:rPr>
              <a:t>Extreme Gradient Boosting (</a:t>
            </a:r>
            <a:r>
              <a:rPr lang="en-GB" sz="1600" b="1">
                <a:latin typeface="Arial" panose="020B0604020202020204" pitchFamily="34" charset="0"/>
              </a:rPr>
              <a:t>XGBoost</a:t>
            </a:r>
            <a:r>
              <a:rPr lang="en-GB" sz="1600">
                <a:latin typeface="Arial" panose="020B0604020202020204" pitchFamily="34" charset="0"/>
              </a:rPr>
              <a:t>)</a:t>
            </a:r>
          </a:p>
          <a:p>
            <a:pPr marL="400050" lvl="2" indent="-161925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1600">
                <a:latin typeface="Arial" panose="020B0604020202020204" pitchFamily="34" charset="0"/>
              </a:rPr>
              <a:t>Light Gradient Boosting (</a:t>
            </a:r>
            <a:r>
              <a:rPr lang="en-GB" sz="1600" b="1">
                <a:latin typeface="Arial" panose="020B0604020202020204" pitchFamily="34" charset="0"/>
              </a:rPr>
              <a:t>LightGBM</a:t>
            </a:r>
            <a:r>
              <a:rPr lang="en-GB" sz="1600">
                <a:latin typeface="Arial" panose="020B0604020202020204" pitchFamily="34" charset="0"/>
              </a:rPr>
              <a:t>)</a:t>
            </a:r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1600" b="1">
                <a:latin typeface="Arial" panose="020B0604020202020204" pitchFamily="34" charset="0"/>
              </a:rPr>
              <a:t>Monotonicity</a:t>
            </a:r>
            <a:r>
              <a:rPr lang="en-GB" sz="1600">
                <a:latin typeface="Arial" panose="020B0604020202020204" pitchFamily="34" charset="0"/>
              </a:rPr>
              <a:t> inputs </a:t>
            </a:r>
            <a:r>
              <a:rPr lang="en-GB" sz="1600" b="1">
                <a:latin typeface="Arial" panose="020B0604020202020204" pitchFamily="34" charset="0"/>
              </a:rPr>
              <a:t>didn’t improve </a:t>
            </a:r>
            <a:r>
              <a:rPr lang="en-GB" sz="1600">
                <a:latin typeface="Arial" panose="020B0604020202020204" pitchFamily="34" charset="0"/>
              </a:rPr>
              <a:t>the performance</a:t>
            </a:r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1600">
                <a:latin typeface="Arial" panose="020B0604020202020204" pitchFamily="34" charset="0"/>
              </a:rPr>
              <a:t>Insights were generated using SHAP* and feature importance plots</a:t>
            </a:r>
            <a:endParaRPr lang="en-US" sz="1600">
              <a:latin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C3FD927-D059-509A-2D2B-E0C80F1AAC2D}"/>
              </a:ext>
            </a:extLst>
          </p:cNvPr>
          <p:cNvSpPr/>
          <p:nvPr/>
        </p:nvSpPr>
        <p:spPr bwMode="auto">
          <a:xfrm>
            <a:off x="674914" y="2422583"/>
            <a:ext cx="3118552" cy="2349361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>
                <a:solidFill>
                  <a:schemeClr val="tx2"/>
                </a:solidFill>
                <a:latin typeface="Arial" panose="020B0604020202020204" pitchFamily="34" charset="0"/>
              </a:rPr>
              <a:t>Feature engineering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>
                <a:latin typeface="Arial" panose="020B0604020202020204" pitchFamily="34" charset="0"/>
              </a:rPr>
              <a:t>A combination </a:t>
            </a:r>
            <a:r>
              <a:rPr lang="en-US" sz="1600" b="1">
                <a:latin typeface="Arial" panose="020B0604020202020204" pitchFamily="34" charset="0"/>
              </a:rPr>
              <a:t>of internal and external features </a:t>
            </a:r>
            <a:r>
              <a:rPr lang="en-US" sz="1600">
                <a:latin typeface="Arial" panose="020B0604020202020204" pitchFamily="34" charset="0"/>
              </a:rPr>
              <a:t>capturing lag variables and market trends were used for modelling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>
                <a:latin typeface="Arial" panose="020B0604020202020204" pitchFamily="34" charset="0"/>
              </a:rPr>
              <a:t>Different lag periods were used to capture </a:t>
            </a:r>
            <a:r>
              <a:rPr lang="en-US" sz="1600" b="1">
                <a:latin typeface="Arial" panose="020B0604020202020204" pitchFamily="34" charset="0"/>
              </a:rPr>
              <a:t>different seasonality patterns </a:t>
            </a:r>
            <a:r>
              <a:rPr lang="en-US" sz="1600">
                <a:latin typeface="Arial" panose="020B0604020202020204" pitchFamily="34" charset="0"/>
              </a:rPr>
              <a:t>observed during the EDA proces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5DEE725-9FE3-D608-0A96-F30B8E8E4A59}"/>
              </a:ext>
            </a:extLst>
          </p:cNvPr>
          <p:cNvSpPr/>
          <p:nvPr/>
        </p:nvSpPr>
        <p:spPr bwMode="auto">
          <a:xfrm>
            <a:off x="4559121" y="2422583"/>
            <a:ext cx="3118552" cy="267252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>
                <a:solidFill>
                  <a:schemeClr val="tx2"/>
                </a:solidFill>
                <a:latin typeface="Arial" panose="020B0604020202020204" pitchFamily="34" charset="0"/>
              </a:rPr>
              <a:t>Feature selection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>
                <a:latin typeface="Arial" panose="020B0604020202020204" pitchFamily="34" charset="0"/>
              </a:rPr>
              <a:t>Various </a:t>
            </a:r>
            <a:r>
              <a:rPr lang="en-US" sz="1600" b="1">
                <a:latin typeface="Arial" panose="020B0604020202020204" pitchFamily="34" charset="0"/>
              </a:rPr>
              <a:t>stepwise feature </a:t>
            </a:r>
            <a:r>
              <a:rPr lang="en-US" sz="1600">
                <a:latin typeface="Arial" panose="020B0604020202020204" pitchFamily="34" charset="0"/>
              </a:rPr>
              <a:t>selection methods were used to explore the optimum combination of features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 b="1">
                <a:latin typeface="Arial" panose="020B0604020202020204" pitchFamily="34" charset="0"/>
              </a:rPr>
              <a:t>L1 regularization </a:t>
            </a:r>
            <a:r>
              <a:rPr lang="en-US" sz="1600">
                <a:latin typeface="Arial" panose="020B0604020202020204" pitchFamily="34" charset="0"/>
              </a:rPr>
              <a:t>was also used in the </a:t>
            </a:r>
            <a:r>
              <a:rPr lang="en-US" sz="1600" err="1">
                <a:latin typeface="Arial" panose="020B0604020202020204" pitchFamily="34" charset="0"/>
              </a:rPr>
              <a:t>LightGBM</a:t>
            </a:r>
            <a:r>
              <a:rPr lang="en-US" sz="1600">
                <a:latin typeface="Arial" panose="020B0604020202020204" pitchFamily="34" charset="0"/>
              </a:rPr>
              <a:t> regression method to select features further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en-US" sz="1600">
              <a:latin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E67883C-080F-AE1F-E520-496CB951B8A4}"/>
              </a:ext>
            </a:extLst>
          </p:cNvPr>
          <p:cNvSpPr txBox="1"/>
          <p:nvPr/>
        </p:nvSpPr>
        <p:spPr>
          <a:xfrm>
            <a:off x="773026" y="6345123"/>
            <a:ext cx="110945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/>
              <a:t>*SHAP (</a:t>
            </a:r>
            <a:r>
              <a:rPr lang="en-US" sz="1000" err="1"/>
              <a:t>SHapley</a:t>
            </a:r>
            <a:r>
              <a:rPr lang="en-US" sz="1000"/>
              <a:t> Additive </a:t>
            </a:r>
            <a:r>
              <a:rPr lang="en-US" sz="1000" err="1"/>
              <a:t>exPlanations</a:t>
            </a:r>
            <a:r>
              <a:rPr lang="en-US" sz="1000"/>
              <a:t>) is a method used to explain the predictions of machine learning models. It assigns a "score" or "importance" to each feature (or input variable) of the model</a:t>
            </a:r>
            <a:endParaRPr lang="en-GB" sz="1000"/>
          </a:p>
        </p:txBody>
      </p:sp>
      <p:pic>
        <p:nvPicPr>
          <p:cNvPr id="58" name="Picture 57" descr="Shape&#10;&#10;Description automatically generated with low confidence">
            <a:extLst>
              <a:ext uri="{FF2B5EF4-FFF2-40B4-BE49-F238E27FC236}">
                <a16:creationId xmlns:a16="http://schemas.microsoft.com/office/drawing/2014/main" id="{5AFE4CB0-A0BC-8DCB-77C3-132B624D416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56891" y="1448658"/>
            <a:ext cx="1121338" cy="1121338"/>
          </a:xfrm>
          <a:prstGeom prst="rect">
            <a:avLst/>
          </a:prstGeom>
        </p:spPr>
      </p:pic>
      <p:pic>
        <p:nvPicPr>
          <p:cNvPr id="60" name="Picture 59" descr="Shape&#10;&#10;Description automatically generated with low confidence">
            <a:extLst>
              <a:ext uri="{FF2B5EF4-FFF2-40B4-BE49-F238E27FC236}">
                <a16:creationId xmlns:a16="http://schemas.microsoft.com/office/drawing/2014/main" id="{2460A9F0-4043-DD22-C729-6DD71BC4F0A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79264" y="1361746"/>
            <a:ext cx="1233471" cy="1233471"/>
          </a:xfrm>
          <a:prstGeom prst="rect">
            <a:avLst/>
          </a:prstGeom>
        </p:spPr>
      </p:pic>
      <p:pic>
        <p:nvPicPr>
          <p:cNvPr id="62" name="Picture 61" descr="Shape&#10;&#10;Description automatically generated with low confidence">
            <a:extLst>
              <a:ext uri="{FF2B5EF4-FFF2-40B4-BE49-F238E27FC236}">
                <a16:creationId xmlns:a16="http://schemas.microsoft.com/office/drawing/2014/main" id="{D6600E77-A0DB-CB20-E728-E6610DA1AE0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457505" y="1436783"/>
            <a:ext cx="1042122" cy="1042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37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434E7-74BA-087F-1BD5-FE832AA1E5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6777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434E7-74BA-087F-1BD5-FE832AA1E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Using </a:t>
            </a:r>
            <a:r>
              <a:rPr lang="en-US" sz="2800" err="1"/>
              <a:t>LightGBM</a:t>
            </a:r>
            <a:r>
              <a:rPr lang="en-US" sz="2800"/>
              <a:t>, our model took &lt;3 seconds and returned an RMSE of 3.39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047E8C-A273-5F9A-E1E5-02AF9B75C7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0" indent="0">
              <a:buNone/>
            </a:pPr>
            <a:r>
              <a:rPr lang="en-US" sz="2400" b="1"/>
              <a:t>Primary model: </a:t>
            </a:r>
            <a:r>
              <a:rPr lang="en-US" sz="2400" b="1" err="1"/>
              <a:t>LightGBM</a:t>
            </a:r>
            <a:endParaRPr lang="en-US" sz="2400" b="1"/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/>
              <a:t>Description: </a:t>
            </a:r>
            <a:r>
              <a:rPr lang="en-US" sz="2000" b="1" err="1"/>
              <a:t>LightGBM</a:t>
            </a:r>
            <a:r>
              <a:rPr lang="en-US" sz="2000" b="1"/>
              <a:t> modelling with lag-based features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/>
              <a:t>Runtime to predict on the validation dataset: 3 seconds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/>
              <a:t>RMSE value on the validation dataset: 3.39</a:t>
            </a:r>
            <a:endParaRPr lang="en-US" sz="200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US" sz="2400" b="1"/>
              <a:t>Secondary model: Time Series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/>
              <a:t>Description: </a:t>
            </a:r>
            <a:r>
              <a:rPr lang="en-US" sz="2000" b="1"/>
              <a:t>Time series modelling </a:t>
            </a:r>
            <a:r>
              <a:rPr lang="en-US" sz="2000"/>
              <a:t>(Croston’s method)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/>
              <a:t>Runtime to predict on the validation dataset: 40 seconds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/>
              <a:t>RMSE value on the validation dataset: 5.9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EC7B1C-8392-BFC6-3F74-D652D29909A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987" b="10149"/>
          <a:stretch/>
        </p:blipFill>
        <p:spPr>
          <a:xfrm>
            <a:off x="7985425" y="3461350"/>
            <a:ext cx="3251200" cy="2596551"/>
          </a:xfrm>
          <a:prstGeom prst="rect">
            <a:avLst/>
          </a:prstGeom>
        </p:spPr>
      </p:pic>
      <p:sp>
        <p:nvSpPr>
          <p:cNvPr id="9" name="Arrow: Curved Right 8">
            <a:extLst>
              <a:ext uri="{FF2B5EF4-FFF2-40B4-BE49-F238E27FC236}">
                <a16:creationId xmlns:a16="http://schemas.microsoft.com/office/drawing/2014/main" id="{4A4BCD15-1AC9-CD50-2CBF-F0964769FDC7}"/>
              </a:ext>
            </a:extLst>
          </p:cNvPr>
          <p:cNvSpPr/>
          <p:nvPr/>
        </p:nvSpPr>
        <p:spPr>
          <a:xfrm rot="10800000">
            <a:off x="6687150" y="2163073"/>
            <a:ext cx="1144517" cy="2596551"/>
          </a:xfrm>
          <a:prstGeom prst="curved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0D0DD4F2-B790-C038-1518-86691EB90D90}"/>
              </a:ext>
            </a:extLst>
          </p:cNvPr>
          <p:cNvSpPr/>
          <p:nvPr/>
        </p:nvSpPr>
        <p:spPr>
          <a:xfrm>
            <a:off x="8058750" y="1718733"/>
            <a:ext cx="3049517" cy="1222735"/>
          </a:xfrm>
          <a:prstGeom prst="wedgeRoundRectCallout">
            <a:avLst>
              <a:gd name="adj1" fmla="val -58870"/>
              <a:gd name="adj2" fmla="val 32897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Significant lift in baseline performance with near 0 runtime!</a:t>
            </a:r>
            <a:endParaRPr lang="en-GB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95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434E7-74BA-087F-1BD5-FE832AA1E5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19631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434E7-74BA-087F-1BD5-FE832AA1E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Best Buy can plug our strong model directly into their forecasting proces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Body copy 3">
            <a:extLst>
              <a:ext uri="{FF2B5EF4-FFF2-40B4-BE49-F238E27FC236}">
                <a16:creationId xmlns:a16="http://schemas.microsoft.com/office/drawing/2014/main" id="{1381CC33-AC0E-E872-6009-D1145E7F5860}"/>
              </a:ext>
            </a:extLst>
          </p:cNvPr>
          <p:cNvSpPr txBox="1">
            <a:spLocks/>
          </p:cNvSpPr>
          <p:nvPr/>
        </p:nvSpPr>
        <p:spPr bwMode="auto">
          <a:xfrm>
            <a:off x="8256702" y="2192886"/>
            <a:ext cx="3328416" cy="39497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defTabSz="91440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228600" indent="-228600" algn="l" defTabSz="91440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Wingdings 2" panose="05020102010507070707" pitchFamily="18" charset="2"/>
              <a:buChar char=""/>
              <a:defRPr sz="1800">
                <a:latin typeface="+mn-lt"/>
              </a:defRPr>
            </a:lvl2pPr>
            <a:lvl3pPr marL="457200" indent="-228600" algn="l" defTabSz="91440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>
                <a:latin typeface="+mn-lt"/>
              </a:defRPr>
            </a:lvl3pPr>
            <a:lvl4pPr marL="1600200" indent="-228600" algn="l" defTabSz="91440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4pPr>
            <a:lvl5pPr marL="2057400" indent="-228600" algn="l" defTabSz="91440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pPr marL="190500" lvl="1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The entire model pipeline is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Python based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&amp; can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easily be implemented in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any system</a:t>
            </a:r>
          </a:p>
          <a:p>
            <a:pPr marL="190500" lvl="1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For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model lifecycle management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, we recommend constantly updating data and collecting user feedback</a:t>
            </a:r>
          </a:p>
          <a:p>
            <a:pPr marL="190500" lvl="1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To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improve our modelling process</a:t>
            </a:r>
          </a:p>
          <a:p>
            <a:pPr marL="419100" lvl="2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Combine other internal data sources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such as location, source of sales (offline vs. online), etc.</a:t>
            </a:r>
          </a:p>
          <a:p>
            <a:pPr marL="419100" lvl="2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Explore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additional methods of feature selection</a:t>
            </a:r>
            <a:endParaRPr lang="en-US" sz="1600">
              <a:solidFill>
                <a:srgbClr val="1A1628"/>
              </a:solidFill>
              <a:highlight>
                <a:srgbClr val="FFFF00"/>
              </a:highlight>
              <a:cs typeface="Arial" panose="020B0604020202020204" pitchFamily="34" charset="0"/>
            </a:endParaRPr>
          </a:p>
          <a:p>
            <a:pPr marL="419100" lvl="2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Add models at a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more granular level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, such as Category name instead of an overall model</a:t>
            </a:r>
          </a:p>
        </p:txBody>
      </p:sp>
      <p:grpSp>
        <p:nvGrpSpPr>
          <p:cNvPr id="7" name="H3">
            <a:extLst>
              <a:ext uri="{FF2B5EF4-FFF2-40B4-BE49-F238E27FC236}">
                <a16:creationId xmlns:a16="http://schemas.microsoft.com/office/drawing/2014/main" id="{D2D78F11-5A7B-705E-EA56-09F6E1FDF572}"/>
              </a:ext>
            </a:extLst>
          </p:cNvPr>
          <p:cNvGrpSpPr/>
          <p:nvPr/>
        </p:nvGrpSpPr>
        <p:grpSpPr bwMode="auto">
          <a:xfrm>
            <a:off x="8256702" y="1686662"/>
            <a:ext cx="3328416" cy="341632"/>
            <a:chOff x="6532258" y="2172968"/>
            <a:chExt cx="2423160" cy="341632"/>
          </a:xfrm>
        </p:grpSpPr>
        <p:cxnSp>
          <p:nvCxnSpPr>
            <p:cNvPr id="8" name="Heading underline 3">
              <a:extLst>
                <a:ext uri="{FF2B5EF4-FFF2-40B4-BE49-F238E27FC236}">
                  <a16:creationId xmlns:a16="http://schemas.microsoft.com/office/drawing/2014/main" id="{18BAC8F0-79D3-6A98-0C69-7AD0F1028D43}"/>
                </a:ext>
              </a:extLst>
            </p:cNvPr>
            <p:cNvCxnSpPr/>
            <p:nvPr/>
          </p:nvCxnSpPr>
          <p:spPr bwMode="auto">
            <a:xfrm>
              <a:off x="6532258" y="2514600"/>
              <a:ext cx="2423160" cy="0"/>
            </a:xfrm>
            <a:prstGeom prst="line">
              <a:avLst/>
            </a:prstGeom>
            <a:noFill/>
            <a:ln w="12700" cap="flat" cmpd="sng" algn="ctr">
              <a:solidFill>
                <a:srgbClr val="1A1628"/>
              </a:solidFill>
              <a:prstDash val="solid"/>
              <a:round/>
            </a:ln>
            <a:effectLst/>
          </p:spPr>
        </p:cxnSp>
        <p:sp>
          <p:nvSpPr>
            <p:cNvPr id="9" name="Heading 3">
              <a:extLst>
                <a:ext uri="{FF2B5EF4-FFF2-40B4-BE49-F238E27FC236}">
                  <a16:creationId xmlns:a16="http://schemas.microsoft.com/office/drawing/2014/main" id="{B16F16B9-761B-F307-D634-A4EAA8F3060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532258" y="2172968"/>
              <a:ext cx="2423160" cy="3416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lIns="0" tIns="0" rIns="0" bIns="64008" rtlCol="0" anchor="b">
              <a:spAutoFit/>
            </a:bodyPr>
            <a:lstStyle>
              <a:lvl1pPr marL="0" indent="0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>
                  <a:solidFill>
                    <a:schemeClr val="bg2"/>
                  </a:solidFill>
                  <a:latin typeface="+mn-lt"/>
                </a:defRPr>
              </a:lvl1pPr>
              <a:lvl2pPr marL="2286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Wingdings 2" panose="05020102010507070707" pitchFamily="18" charset="2"/>
                <a:buChar char=""/>
                <a:defRPr sz="1800">
                  <a:latin typeface="+mn-lt"/>
                </a:defRPr>
              </a:lvl2pPr>
              <a:lvl3pPr marL="4572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800">
                  <a:latin typeface="+mn-lt"/>
                </a:defRPr>
              </a:lvl3pPr>
              <a:lvl4pPr marL="16002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4pPr>
              <a:lvl5pPr marL="20574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US" sz="1800" ker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xt steps</a:t>
              </a: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Body copy 2">
            <a:extLst>
              <a:ext uri="{FF2B5EF4-FFF2-40B4-BE49-F238E27FC236}">
                <a16:creationId xmlns:a16="http://schemas.microsoft.com/office/drawing/2014/main" id="{4DBA6675-BDA7-9AFB-0030-134699EAB71E}"/>
              </a:ext>
            </a:extLst>
          </p:cNvPr>
          <p:cNvSpPr txBox="1">
            <a:spLocks/>
          </p:cNvSpPr>
          <p:nvPr/>
        </p:nvSpPr>
        <p:spPr bwMode="auto">
          <a:xfrm>
            <a:off x="4375074" y="2192886"/>
            <a:ext cx="3328416" cy="370357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Font typeface="Arial" panose="020B0604020202020204" pitchFamily="34" charset="0"/>
              <a:buNone/>
            </a:lvl1pPr>
            <a:lvl2pPr marL="190500" lvl="1" indent="-190500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300">
                <a:solidFill>
                  <a:srgbClr val="1A1628"/>
                </a:solidFill>
                <a:cs typeface="Arial" panose="020B0604020202020204" pitchFamily="34" charset="0"/>
              </a:defRPr>
            </a:lvl2pPr>
            <a:lvl3pPr marL="419100" lvl="2" indent="-190500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300">
                <a:solidFill>
                  <a:srgbClr val="1A1628"/>
                </a:solidFill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65100" lvl="1" indent="-165100">
              <a:buFont typeface="Wingdings" pitchFamily="2" charset="2"/>
              <a:buChar char="§"/>
            </a:pPr>
            <a:r>
              <a:rPr lang="en-US" sz="1600" b="1"/>
              <a:t>Leverage </a:t>
            </a:r>
            <a:r>
              <a:rPr lang="en-US" sz="1600" b="1" err="1"/>
              <a:t>LightGBM</a:t>
            </a:r>
            <a:r>
              <a:rPr lang="en-US" sz="1600" b="1"/>
              <a:t> </a:t>
            </a:r>
            <a:r>
              <a:rPr lang="en-US" sz="1600"/>
              <a:t>for further SKU predictions in contrast to </a:t>
            </a:r>
            <a:r>
              <a:rPr lang="en-US" sz="1600" err="1"/>
              <a:t>XGBoost</a:t>
            </a:r>
            <a:r>
              <a:rPr lang="en-US" sz="1600"/>
              <a:t>, Time Series, or similar models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 b="1"/>
              <a:t>Stock inventory </a:t>
            </a:r>
            <a:r>
              <a:rPr lang="en-US" sz="1600"/>
              <a:t>in anticipation of promotions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/>
              <a:t>Constantly </a:t>
            </a:r>
            <a:r>
              <a:rPr lang="en-US" sz="1600" b="1"/>
              <a:t>adjust prices and promotions </a:t>
            </a:r>
            <a:r>
              <a:rPr lang="en-US" sz="1600"/>
              <a:t>according to inflation and consumer sentiment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 b="1"/>
              <a:t>Incorporate seasonality </a:t>
            </a:r>
            <a:r>
              <a:rPr lang="en-US" sz="1600"/>
              <a:t>of products during the order process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 b="1"/>
              <a:t>Utilize discounting strategies </a:t>
            </a:r>
            <a:r>
              <a:rPr lang="en-US" sz="1600"/>
              <a:t>for pushing sales of slow-selling SKUs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/>
              <a:t>Improve capturing </a:t>
            </a:r>
            <a:r>
              <a:rPr lang="en-US" sz="1600" b="1"/>
              <a:t>competitor prices</a:t>
            </a:r>
            <a:r>
              <a:rPr lang="en-US" sz="1600"/>
              <a:t> to boost data quality</a:t>
            </a:r>
            <a:endParaRPr lang="en-US" sz="1600" b="1"/>
          </a:p>
        </p:txBody>
      </p:sp>
      <p:grpSp>
        <p:nvGrpSpPr>
          <p:cNvPr id="11" name="H2">
            <a:extLst>
              <a:ext uri="{FF2B5EF4-FFF2-40B4-BE49-F238E27FC236}">
                <a16:creationId xmlns:a16="http://schemas.microsoft.com/office/drawing/2014/main" id="{4B17B53E-41CF-3105-EB5F-9E41D3736E91}"/>
              </a:ext>
            </a:extLst>
          </p:cNvPr>
          <p:cNvGrpSpPr/>
          <p:nvPr/>
        </p:nvGrpSpPr>
        <p:grpSpPr bwMode="auto">
          <a:xfrm>
            <a:off x="4375074" y="1686662"/>
            <a:ext cx="3328416" cy="341632"/>
            <a:chOff x="3594526" y="2172968"/>
            <a:chExt cx="2423160" cy="341632"/>
          </a:xfrm>
        </p:grpSpPr>
        <p:cxnSp>
          <p:nvCxnSpPr>
            <p:cNvPr id="12" name="Heading underline 2">
              <a:extLst>
                <a:ext uri="{FF2B5EF4-FFF2-40B4-BE49-F238E27FC236}">
                  <a16:creationId xmlns:a16="http://schemas.microsoft.com/office/drawing/2014/main" id="{EA360E11-5FC0-9E9F-2907-F8BF2B458E32}"/>
                </a:ext>
              </a:extLst>
            </p:cNvPr>
            <p:cNvCxnSpPr/>
            <p:nvPr/>
          </p:nvCxnSpPr>
          <p:spPr bwMode="auto">
            <a:xfrm>
              <a:off x="3594526" y="2514600"/>
              <a:ext cx="2423160" cy="0"/>
            </a:xfrm>
            <a:prstGeom prst="line">
              <a:avLst/>
            </a:prstGeom>
            <a:noFill/>
            <a:ln w="12700" cap="flat" cmpd="sng" algn="ctr">
              <a:solidFill>
                <a:srgbClr val="1A1628"/>
              </a:solidFill>
              <a:prstDash val="solid"/>
              <a:round/>
            </a:ln>
            <a:effectLst/>
          </p:spPr>
        </p:cxnSp>
        <p:sp>
          <p:nvSpPr>
            <p:cNvPr id="13" name="Heading 2">
              <a:extLst>
                <a:ext uri="{FF2B5EF4-FFF2-40B4-BE49-F238E27FC236}">
                  <a16:creationId xmlns:a16="http://schemas.microsoft.com/office/drawing/2014/main" id="{023A9A77-F867-5A12-08B4-653D02ADA12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94526" y="2172968"/>
              <a:ext cx="2423160" cy="3416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lIns="0" tIns="0" rIns="0" bIns="64008" rtlCol="0" anchor="b">
              <a:spAutoFit/>
            </a:bodyPr>
            <a:lstStyle>
              <a:lvl1pPr marL="0" indent="0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>
                  <a:solidFill>
                    <a:schemeClr val="bg2"/>
                  </a:solidFill>
                  <a:latin typeface="+mn-lt"/>
                </a:defRPr>
              </a:lvl1pPr>
              <a:lvl2pPr marL="2286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Wingdings 2" panose="05020102010507070707" pitchFamily="18" charset="2"/>
                <a:buChar char=""/>
                <a:defRPr sz="1800">
                  <a:latin typeface="+mn-lt"/>
                </a:defRPr>
              </a:lvl2pPr>
              <a:lvl3pPr marL="4572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800">
                  <a:latin typeface="+mn-lt"/>
                </a:defRPr>
              </a:lvl3pPr>
              <a:lvl4pPr marL="16002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4pPr>
              <a:lvl5pPr marL="20574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ecommendations</a:t>
              </a:r>
            </a:p>
          </p:txBody>
        </p:sp>
      </p:grpSp>
      <p:sp>
        <p:nvSpPr>
          <p:cNvPr id="14" name="Body copy 1">
            <a:extLst>
              <a:ext uri="{FF2B5EF4-FFF2-40B4-BE49-F238E27FC236}">
                <a16:creationId xmlns:a16="http://schemas.microsoft.com/office/drawing/2014/main" id="{B29C6593-7EBE-4367-EEA7-EC6BB46FA621}"/>
              </a:ext>
            </a:extLst>
          </p:cNvPr>
          <p:cNvSpPr txBox="1">
            <a:spLocks/>
          </p:cNvSpPr>
          <p:nvPr/>
        </p:nvSpPr>
        <p:spPr bwMode="auto">
          <a:xfrm>
            <a:off x="493446" y="2192886"/>
            <a:ext cx="3328416" cy="37548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defTabSz="91440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228600" indent="-228600" algn="l" defTabSz="91440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Wingdings 2" panose="05020102010507070707" pitchFamily="18" charset="2"/>
              <a:buChar char=""/>
              <a:defRPr sz="1800">
                <a:latin typeface="+mn-lt"/>
              </a:defRPr>
            </a:lvl2pPr>
            <a:lvl3pPr marL="457200" indent="-228600" algn="l" defTabSz="91440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>
                <a:latin typeface="+mn-lt"/>
              </a:defRPr>
            </a:lvl3pPr>
            <a:lvl4pPr marL="1600200" indent="-228600" algn="l" defTabSz="91440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4pPr>
            <a:lvl5pPr marL="2057400" indent="-228600" algn="l" defTabSz="91440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 b="1" err="1">
                <a:solidFill>
                  <a:srgbClr val="1A1628"/>
                </a:solidFill>
                <a:cs typeface="Arial" panose="020B0604020202020204" pitchFamily="34" charset="0"/>
              </a:rPr>
              <a:t>LightGBM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 is extremely fast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and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 has extremely low RMSE</a:t>
            </a:r>
          </a:p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Most important features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are most recent sales, day of the week, and promotional discount</a:t>
            </a:r>
          </a:p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External features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such as the global supply chain pressure index and the inflation rate also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played important roles</a:t>
            </a:r>
          </a:p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The higher the recent sales, the higher the predicted sales. Similar for promotional discount</a:t>
            </a:r>
          </a:p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The more the supply chain pressure, the lower the predicted sales</a:t>
            </a:r>
          </a:p>
        </p:txBody>
      </p:sp>
      <p:grpSp>
        <p:nvGrpSpPr>
          <p:cNvPr id="15" name="H1">
            <a:extLst>
              <a:ext uri="{FF2B5EF4-FFF2-40B4-BE49-F238E27FC236}">
                <a16:creationId xmlns:a16="http://schemas.microsoft.com/office/drawing/2014/main" id="{D637C13F-C229-BDB8-A05B-8D5F3174FF22}"/>
              </a:ext>
            </a:extLst>
          </p:cNvPr>
          <p:cNvGrpSpPr/>
          <p:nvPr/>
        </p:nvGrpSpPr>
        <p:grpSpPr bwMode="auto">
          <a:xfrm>
            <a:off x="493446" y="1686662"/>
            <a:ext cx="3328416" cy="341632"/>
            <a:chOff x="548640" y="2172968"/>
            <a:chExt cx="2423160" cy="341632"/>
          </a:xfrm>
        </p:grpSpPr>
        <p:cxnSp>
          <p:nvCxnSpPr>
            <p:cNvPr id="16" name="Heading underline 1">
              <a:extLst>
                <a:ext uri="{FF2B5EF4-FFF2-40B4-BE49-F238E27FC236}">
                  <a16:creationId xmlns:a16="http://schemas.microsoft.com/office/drawing/2014/main" id="{67255774-09CC-8515-03A2-9DD1174400B4}"/>
                </a:ext>
              </a:extLst>
            </p:cNvPr>
            <p:cNvCxnSpPr/>
            <p:nvPr/>
          </p:nvCxnSpPr>
          <p:spPr bwMode="auto">
            <a:xfrm>
              <a:off x="548640" y="2514600"/>
              <a:ext cx="2423160" cy="0"/>
            </a:xfrm>
            <a:prstGeom prst="line">
              <a:avLst/>
            </a:prstGeom>
            <a:noFill/>
            <a:ln w="12700" cap="flat" cmpd="sng" algn="ctr">
              <a:solidFill>
                <a:srgbClr val="1A1628"/>
              </a:solidFill>
              <a:prstDash val="solid"/>
              <a:round/>
            </a:ln>
            <a:effectLst/>
          </p:spPr>
        </p:cxnSp>
        <p:sp>
          <p:nvSpPr>
            <p:cNvPr id="17" name="Heading 1">
              <a:extLst>
                <a:ext uri="{FF2B5EF4-FFF2-40B4-BE49-F238E27FC236}">
                  <a16:creationId xmlns:a16="http://schemas.microsoft.com/office/drawing/2014/main" id="{0DEB3184-65C2-1D25-20FA-0D98F7D21E5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48640" y="2172968"/>
              <a:ext cx="2423160" cy="3416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lIns="0" tIns="0" rIns="0" bIns="64008" rtlCol="0" anchor="b">
              <a:spAutoFit/>
            </a:bodyPr>
            <a:lstStyle>
              <a:lvl1pPr marL="0" indent="0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>
                  <a:solidFill>
                    <a:schemeClr val="bg2"/>
                  </a:solidFill>
                  <a:latin typeface="+mn-lt"/>
                </a:defRPr>
              </a:lvl1pPr>
              <a:lvl2pPr marL="2286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Wingdings 2" panose="05020102010507070707" pitchFamily="18" charset="2"/>
                <a:buChar char=""/>
                <a:defRPr sz="1800">
                  <a:latin typeface="+mn-lt"/>
                </a:defRPr>
              </a:lvl2pPr>
              <a:lvl3pPr marL="4572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800">
                  <a:latin typeface="+mn-lt"/>
                </a:defRPr>
              </a:lvl3pPr>
              <a:lvl4pPr marL="16002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4pPr>
              <a:lvl5pPr marL="20574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nsights</a:t>
              </a:r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CC76ED-F899-2C7D-B526-94459A153B1A}"/>
              </a:ext>
            </a:extLst>
          </p:cNvPr>
          <p:cNvCxnSpPr>
            <a:cxnSpLocks/>
          </p:cNvCxnSpPr>
          <p:nvPr/>
        </p:nvCxnSpPr>
        <p:spPr bwMode="gray">
          <a:xfrm>
            <a:off x="7980096" y="1397438"/>
            <a:ext cx="0" cy="4754880"/>
          </a:xfrm>
          <a:prstGeom prst="line">
            <a:avLst/>
          </a:prstGeom>
          <a:noFill/>
          <a:ln w="9525" cap="rnd" cmpd="sng" algn="ctr">
            <a:solidFill>
              <a:srgbClr val="75737D"/>
            </a:solidFill>
            <a:prstDash val="solid"/>
            <a:round/>
          </a:ln>
          <a:effectLst/>
        </p:spPr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F38604B-8998-2C4D-7B87-F3CC2C5EE132}"/>
              </a:ext>
            </a:extLst>
          </p:cNvPr>
          <p:cNvGrpSpPr/>
          <p:nvPr/>
        </p:nvGrpSpPr>
        <p:grpSpPr bwMode="gray">
          <a:xfrm>
            <a:off x="7826641" y="3621423"/>
            <a:ext cx="306910" cy="306910"/>
            <a:chOff x="6313199" y="4229315"/>
            <a:chExt cx="306910" cy="306910"/>
          </a:xfrm>
        </p:grpSpPr>
        <p:sp>
          <p:nvSpPr>
            <p:cNvPr id="28" name="Oval 50">
              <a:extLst>
                <a:ext uri="{FF2B5EF4-FFF2-40B4-BE49-F238E27FC236}">
                  <a16:creationId xmlns:a16="http://schemas.microsoft.com/office/drawing/2014/main" id="{215FC472-8814-2A82-D247-93A9BF9EAFC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13199" y="4229315"/>
              <a:ext cx="306910" cy="30691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5825938-9157-50F8-12B7-91E849C48626}"/>
                </a:ext>
              </a:extLst>
            </p:cNvPr>
            <p:cNvGrpSpPr/>
            <p:nvPr/>
          </p:nvGrpSpPr>
          <p:grpSpPr bwMode="gray">
            <a:xfrm>
              <a:off x="6399804" y="4314508"/>
              <a:ext cx="140052" cy="136525"/>
              <a:chOff x="6405478" y="4314507"/>
              <a:chExt cx="140052" cy="136525"/>
            </a:xfrm>
          </p:grpSpPr>
          <p:sp>
            <p:nvSpPr>
              <p:cNvPr id="30" name="Arrow: Chevron 373">
                <a:extLst>
                  <a:ext uri="{FF2B5EF4-FFF2-40B4-BE49-F238E27FC236}">
                    <a16:creationId xmlns:a16="http://schemas.microsoft.com/office/drawing/2014/main" id="{2671AA52-3333-E40B-1732-7CBD9CE1C1D9}"/>
                  </a:ext>
                </a:extLst>
              </p:cNvPr>
              <p:cNvSpPr/>
              <p:nvPr/>
            </p:nvSpPr>
            <p:spPr bwMode="gray">
              <a:xfrm>
                <a:off x="6405478" y="4314507"/>
                <a:ext cx="74784" cy="136525"/>
              </a:xfrm>
              <a:prstGeom prst="chevron">
                <a:avLst>
                  <a:gd name="adj" fmla="val 71053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Arrow: Chevron 374">
                <a:extLst>
                  <a:ext uri="{FF2B5EF4-FFF2-40B4-BE49-F238E27FC236}">
                    <a16:creationId xmlns:a16="http://schemas.microsoft.com/office/drawing/2014/main" id="{1A71FF59-DAD2-AA2C-9CF3-435063521F78}"/>
                  </a:ext>
                </a:extLst>
              </p:cNvPr>
              <p:cNvSpPr/>
              <p:nvPr/>
            </p:nvSpPr>
            <p:spPr bwMode="gray">
              <a:xfrm>
                <a:off x="6470746" y="4314507"/>
                <a:ext cx="74784" cy="136525"/>
              </a:xfrm>
              <a:prstGeom prst="chevron">
                <a:avLst>
                  <a:gd name="adj" fmla="val 71053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1" name="Graphic 40" descr="Lights On with solid fill">
            <a:extLst>
              <a:ext uri="{FF2B5EF4-FFF2-40B4-BE49-F238E27FC236}">
                <a16:creationId xmlns:a16="http://schemas.microsoft.com/office/drawing/2014/main" id="{39D4F2E9-AD55-B110-912B-A6E2E1F5C7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71117" y="1276999"/>
            <a:ext cx="750745" cy="750745"/>
          </a:xfrm>
          <a:prstGeom prst="rect">
            <a:avLst/>
          </a:prstGeom>
        </p:spPr>
      </p:pic>
      <p:pic>
        <p:nvPicPr>
          <p:cNvPr id="43" name="Graphic 42" descr="Speech with solid fill">
            <a:extLst>
              <a:ext uri="{FF2B5EF4-FFF2-40B4-BE49-F238E27FC236}">
                <a16:creationId xmlns:a16="http://schemas.microsoft.com/office/drawing/2014/main" id="{59A27BFE-BC45-7D5F-33C9-E270D552824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52745" y="1353201"/>
            <a:ext cx="750745" cy="750745"/>
          </a:xfrm>
          <a:prstGeom prst="rect">
            <a:avLst/>
          </a:prstGeom>
        </p:spPr>
      </p:pic>
      <p:pic>
        <p:nvPicPr>
          <p:cNvPr id="45" name="Graphic 44" descr="End with solid fill">
            <a:extLst>
              <a:ext uri="{FF2B5EF4-FFF2-40B4-BE49-F238E27FC236}">
                <a16:creationId xmlns:a16="http://schemas.microsoft.com/office/drawing/2014/main" id="{44ADCD0F-306B-50C5-82F2-F4FA159926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34373" y="1320543"/>
            <a:ext cx="750745" cy="750745"/>
          </a:xfrm>
          <a:prstGeom prst="rect">
            <a:avLst/>
          </a:prstGeom>
        </p:spPr>
      </p:pic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BD15CC1-7C59-FA74-411E-DD3AE7A04847}"/>
              </a:ext>
            </a:extLst>
          </p:cNvPr>
          <p:cNvCxnSpPr>
            <a:cxnSpLocks/>
          </p:cNvCxnSpPr>
          <p:nvPr/>
        </p:nvCxnSpPr>
        <p:spPr bwMode="gray">
          <a:xfrm>
            <a:off x="4098468" y="1397438"/>
            <a:ext cx="0" cy="4754880"/>
          </a:xfrm>
          <a:prstGeom prst="line">
            <a:avLst/>
          </a:prstGeom>
          <a:noFill/>
          <a:ln w="9525" cap="rnd" cmpd="sng" algn="ctr">
            <a:solidFill>
              <a:srgbClr val="75737D"/>
            </a:solidFill>
            <a:prstDash val="solid"/>
            <a:round/>
          </a:ln>
          <a:effectLst/>
        </p:spPr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93BAFDC-80D5-B5F1-1648-16179C306658}"/>
              </a:ext>
            </a:extLst>
          </p:cNvPr>
          <p:cNvGrpSpPr/>
          <p:nvPr/>
        </p:nvGrpSpPr>
        <p:grpSpPr bwMode="gray">
          <a:xfrm>
            <a:off x="3945013" y="3621423"/>
            <a:ext cx="306910" cy="306910"/>
            <a:chOff x="6313199" y="4229315"/>
            <a:chExt cx="306910" cy="306910"/>
          </a:xfrm>
        </p:grpSpPr>
        <p:sp>
          <p:nvSpPr>
            <p:cNvPr id="50" name="Oval 50">
              <a:extLst>
                <a:ext uri="{FF2B5EF4-FFF2-40B4-BE49-F238E27FC236}">
                  <a16:creationId xmlns:a16="http://schemas.microsoft.com/office/drawing/2014/main" id="{37BB1E33-2E64-D43B-76C0-A94831A4FE9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13199" y="4229315"/>
              <a:ext cx="306910" cy="30691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2390226-22D8-15DC-F6FD-2BEB8AE1A416}"/>
                </a:ext>
              </a:extLst>
            </p:cNvPr>
            <p:cNvGrpSpPr/>
            <p:nvPr/>
          </p:nvGrpSpPr>
          <p:grpSpPr bwMode="gray">
            <a:xfrm>
              <a:off x="6399804" y="4314508"/>
              <a:ext cx="140052" cy="136525"/>
              <a:chOff x="6405478" y="4314507"/>
              <a:chExt cx="140052" cy="136525"/>
            </a:xfrm>
          </p:grpSpPr>
          <p:sp>
            <p:nvSpPr>
              <p:cNvPr id="52" name="Arrow: Chevron 373">
                <a:extLst>
                  <a:ext uri="{FF2B5EF4-FFF2-40B4-BE49-F238E27FC236}">
                    <a16:creationId xmlns:a16="http://schemas.microsoft.com/office/drawing/2014/main" id="{DBB3EF9E-87EC-ACAB-0458-67F3A64A8246}"/>
                  </a:ext>
                </a:extLst>
              </p:cNvPr>
              <p:cNvSpPr/>
              <p:nvPr/>
            </p:nvSpPr>
            <p:spPr bwMode="gray">
              <a:xfrm>
                <a:off x="6405478" y="4314507"/>
                <a:ext cx="74784" cy="136525"/>
              </a:xfrm>
              <a:prstGeom prst="chevron">
                <a:avLst>
                  <a:gd name="adj" fmla="val 71053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3" name="Arrow: Chevron 374">
                <a:extLst>
                  <a:ext uri="{FF2B5EF4-FFF2-40B4-BE49-F238E27FC236}">
                    <a16:creationId xmlns:a16="http://schemas.microsoft.com/office/drawing/2014/main" id="{BD8C4A2A-0A23-E95D-3C92-4495E5E0A91C}"/>
                  </a:ext>
                </a:extLst>
              </p:cNvPr>
              <p:cNvSpPr/>
              <p:nvPr/>
            </p:nvSpPr>
            <p:spPr bwMode="gray">
              <a:xfrm>
                <a:off x="6470746" y="4314507"/>
                <a:ext cx="74784" cy="136525"/>
              </a:xfrm>
              <a:prstGeom prst="chevron">
                <a:avLst>
                  <a:gd name="adj" fmla="val 71053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5980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3FD54-E6DC-BCE0-4BBB-69BAF9ED7A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20785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3FD54-E6DC-BCE0-4BBB-69BAF9ED7A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Q&amp;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047E8C-A273-5F9A-E1E5-02AF9B75C7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 marL="6350" indent="0" algn="ctr">
              <a:buNone/>
            </a:pPr>
            <a:r>
              <a:rPr lang="en-US" sz="4800"/>
              <a:t>THANK YOU! </a:t>
            </a:r>
            <a:r>
              <a:rPr lang="en-US" sz="4800">
                <a:sym typeface="Wingdings" panose="05000000000000000000" pitchFamily="2" charset="2"/>
              </a:rPr>
              <a:t></a:t>
            </a:r>
            <a:endParaRPr lang="en-US" sz="480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41B7169-A1EA-8B9F-7189-849E8CEA2B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83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C427F91-FBFC-227D-69DA-4EC4C96F7A7F}"/>
              </a:ext>
            </a:extLst>
          </p:cNvPr>
          <p:cNvSpPr txBox="1">
            <a:spLocks/>
          </p:cNvSpPr>
          <p:nvPr/>
        </p:nvSpPr>
        <p:spPr>
          <a:xfrm>
            <a:off x="5874948" y="446313"/>
            <a:ext cx="6144986" cy="557805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10000"/>
          </a:bodyPr>
          <a:lstStyle>
            <a:lvl1pPr marL="171450" indent="-1651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4813" indent="-1714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SzPct val="110000"/>
              <a:buFont typeface="Human BBY Office" pitchFamily="2" charset="0"/>
              <a:buChar char="›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72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Human BBY Office" pitchFamily="2" charset="0"/>
              <a:buChar char="›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0613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" indent="0" algn="r">
              <a:buFont typeface="Arial" panose="020B0604020202020204" pitchFamily="34" charset="0"/>
              <a:buNone/>
            </a:pPr>
            <a:r>
              <a:rPr lang="en-US" sz="4800" b="1">
                <a:solidFill>
                  <a:schemeClr val="tx2"/>
                </a:solidFill>
              </a:rPr>
              <a:t>Time for Your Questions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C903E906-9394-58D8-051F-65BF0A5A06F4}"/>
              </a:ext>
            </a:extLst>
          </p:cNvPr>
          <p:cNvSpPr txBox="1">
            <a:spLocks/>
          </p:cNvSpPr>
          <p:nvPr/>
        </p:nvSpPr>
        <p:spPr>
          <a:xfrm>
            <a:off x="11796226" y="6647867"/>
            <a:ext cx="211097" cy="15076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lang="en-US" sz="700" kern="1200" cap="all" baseline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8C09DA5-8C43-4702-8900-F4900F7A89A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D579B7B-79D6-490B-8438-0569403A604F}"/>
              </a:ext>
            </a:extLst>
          </p:cNvPr>
          <p:cNvSpPr txBox="1">
            <a:spLocks/>
          </p:cNvSpPr>
          <p:nvPr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INTERNAL USE ONLY. DO NOT COPY, PUBLISH OR DISTRIBUTE. THE MATERIAL IN THIS DOCUMENT IS CONFIDENTIAL TO BEST BUY.</a:t>
            </a:r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8448D93E-45BE-940B-160D-EC43047E830F}"/>
              </a:ext>
            </a:extLst>
          </p:cNvPr>
          <p:cNvSpPr txBox="1">
            <a:spLocks/>
          </p:cNvSpPr>
          <p:nvPr/>
        </p:nvSpPr>
        <p:spPr>
          <a:xfrm>
            <a:off x="7665720" y="6647867"/>
            <a:ext cx="3775547" cy="15076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lang="en-US" sz="700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AMPLE FOOTER TEX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D04A43-C200-3D67-9A7B-C8695B9495C5}"/>
              </a:ext>
            </a:extLst>
          </p:cNvPr>
          <p:cNvCxnSpPr>
            <a:cxnSpLocks/>
          </p:cNvCxnSpPr>
          <p:nvPr/>
        </p:nvCxnSpPr>
        <p:spPr>
          <a:xfrm>
            <a:off x="202791" y="6584457"/>
            <a:ext cx="1181013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42A34613-A824-A500-9FF5-496822CDC43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8184" y="6199285"/>
            <a:ext cx="560538" cy="327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88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lt;root reqver=&quot;27037&quot;&gt;&lt;version val=&quot;3301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heme/theme1.xml><?xml version="1.0" encoding="utf-8"?>
<a:theme xmlns:a="http://schemas.openxmlformats.org/drawingml/2006/main" name="1_Office Theme">
  <a:themeElements>
    <a:clrScheme name="BBY Brand Template Blue">
      <a:dk1>
        <a:srgbClr val="FFFFFF"/>
      </a:dk1>
      <a:lt1>
        <a:srgbClr val="000000"/>
      </a:lt1>
      <a:dk2>
        <a:srgbClr val="D2D8E2"/>
      </a:dk2>
      <a:lt2>
        <a:srgbClr val="0046BE"/>
      </a:lt2>
      <a:accent1>
        <a:srgbClr val="FFF200"/>
      </a:accent1>
      <a:accent2>
        <a:srgbClr val="4976E6"/>
      </a:accent2>
      <a:accent3>
        <a:srgbClr val="FFCE00"/>
      </a:accent3>
      <a:accent4>
        <a:srgbClr val="001E73"/>
      </a:accent4>
      <a:accent5>
        <a:srgbClr val="E0E6EF"/>
      </a:accent5>
      <a:accent6>
        <a:srgbClr val="BB0628"/>
      </a:accent6>
      <a:hlink>
        <a:srgbClr val="1D252C"/>
      </a:hlink>
      <a:folHlink>
        <a:srgbClr val="1D252C"/>
      </a:folHlink>
    </a:clrScheme>
    <a:fontScheme name="Custom 7">
      <a:majorFont>
        <a:latin typeface="Human BBY Office"/>
        <a:ea typeface=""/>
        <a:cs typeface=""/>
      </a:majorFont>
      <a:minorFont>
        <a:latin typeface="Human BBY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BYpowerpoint_presentationv1.pptx" id="{110878AA-913F-44B6-A8FF-38E050512EFD}" vid="{BBB3517F-CEE0-4F08-80A5-5F6F73F517EC}"/>
    </a:ext>
  </a:extLst>
</a:theme>
</file>

<file path=ppt/theme/theme2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843dc87-6e8d-433b-8318-2e78ea0b348d" xsi:nil="true"/>
    <lcf76f155ced4ddcb4097134ff3c332f xmlns="0d4e0842-4262-4d93-9217-e6082ad598f2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7CF49E3CA3034B905EA9EAC1BEFF5B" ma:contentTypeVersion="10" ma:contentTypeDescription="Create a new document." ma:contentTypeScope="" ma:versionID="3b3601b51f7d199b186809b10144855f">
  <xsd:schema xmlns:xsd="http://www.w3.org/2001/XMLSchema" xmlns:xs="http://www.w3.org/2001/XMLSchema" xmlns:p="http://schemas.microsoft.com/office/2006/metadata/properties" xmlns:ns2="0d4e0842-4262-4d93-9217-e6082ad598f2" xmlns:ns3="3843dc87-6e8d-433b-8318-2e78ea0b348d" targetNamespace="http://schemas.microsoft.com/office/2006/metadata/properties" ma:root="true" ma:fieldsID="46c4ac127f80fbd324ea45934d3c8c2c" ns2:_="" ns3:_="">
    <xsd:import namespace="0d4e0842-4262-4d93-9217-e6082ad598f2"/>
    <xsd:import namespace="3843dc87-6e8d-433b-8318-2e78ea0b348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4e0842-4262-4d93-9217-e6082ad598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c2506c3-735d-4e70-aa79-204d06275b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43dc87-6e8d-433b-8318-2e78ea0b348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fa7e2549-dc73-48a1-8e03-9ab7ada7caee}" ma:internalName="TaxCatchAll" ma:showField="CatchAllData" ma:web="3843dc87-6e8d-433b-8318-2e78ea0b348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79C627B-B9A4-4538-9739-67EA9B353E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3388A79-4A91-4BB0-B210-99104F2DC403}">
  <ds:schemaRefs>
    <ds:schemaRef ds:uri="0d4e0842-4262-4d93-9217-e6082ad598f2"/>
    <ds:schemaRef ds:uri="3843dc87-6e8d-433b-8318-2e78ea0b348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75800BA-073D-4158-B894-7243AFFD01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4e0842-4262-4d93-9217-e6082ad598f2"/>
    <ds:schemaRef ds:uri="3843dc87-6e8d-433b-8318-2e78ea0b34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0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1_Office Theme</vt:lpstr>
      <vt:lpstr>PowerPoint Presentation</vt:lpstr>
      <vt:lpstr>Scarce Prophets for Best Buy Sanchita Porwal, Sri Ravi Teja Kolipakula, Suraj Shourie &amp; Paul Jordan GT MSA Project Week Final Presentation | January 20, 2022</vt:lpstr>
      <vt:lpstr>Our highly accurate machine-learning model forecasts slow-selling SKU sales</vt:lpstr>
      <vt:lpstr>A wide variety of features were explored for the model</vt:lpstr>
      <vt:lpstr>The EDA offers various insights such as high spikes in sales around holidays</vt:lpstr>
      <vt:lpstr>Rigorous methods were used to create a strong performing model</vt:lpstr>
      <vt:lpstr>Using LightGBM, our model took &lt;3 seconds and returned an RMSE of 3.39</vt:lpstr>
      <vt:lpstr>Best Buy can plug our strong model directly into their forecasting process </vt:lpstr>
      <vt:lpstr>Q&amp;A</vt:lpstr>
      <vt:lpstr>SHAP &amp; feature importance plo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arce Prophets for Best Buy Sanchita Porwal, Sri Ravi Teja Kolipakula, Suraj Shouri &amp; Paul Jordan GT MSA Project Week Final Presentation | January 20, 2022</dc:title>
  <dc:creator>Jordan, Paul</dc:creator>
  <cp:revision>2</cp:revision>
  <dcterms:created xsi:type="dcterms:W3CDTF">2023-01-18T22:03:18Z</dcterms:created>
  <dcterms:modified xsi:type="dcterms:W3CDTF">2023-09-10T19:4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7CF49E3CA3034B905EA9EAC1BEFF5B</vt:lpwstr>
  </property>
  <property fmtid="{D5CDD505-2E9C-101B-9397-08002B2CF9AE}" pid="3" name="MediaServiceImageTags">
    <vt:lpwstr/>
  </property>
</Properties>
</file>